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media/image61.jpg" ContentType="image/jpg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533" r:id="rId2"/>
    <p:sldId id="555" r:id="rId3"/>
    <p:sldId id="554" r:id="rId4"/>
    <p:sldId id="455" r:id="rId5"/>
    <p:sldId id="456" r:id="rId6"/>
    <p:sldId id="457" r:id="rId7"/>
    <p:sldId id="520" r:id="rId8"/>
    <p:sldId id="521" r:id="rId9"/>
    <p:sldId id="522" r:id="rId10"/>
    <p:sldId id="525" r:id="rId11"/>
    <p:sldId id="553" r:id="rId12"/>
    <p:sldId id="531" r:id="rId13"/>
    <p:sldId id="535" r:id="rId14"/>
    <p:sldId id="536" r:id="rId15"/>
    <p:sldId id="538" r:id="rId16"/>
    <p:sldId id="539" r:id="rId17"/>
    <p:sldId id="542" r:id="rId18"/>
    <p:sldId id="543" r:id="rId19"/>
    <p:sldId id="544" r:id="rId20"/>
    <p:sldId id="546" r:id="rId21"/>
    <p:sldId id="548" r:id="rId22"/>
    <p:sldId id="549" r:id="rId23"/>
    <p:sldId id="550" r:id="rId24"/>
    <p:sldId id="551" r:id="rId25"/>
    <p:sldId id="361" r:id="rId26"/>
    <p:sldId id="519" r:id="rId27"/>
  </p:sldIdLst>
  <p:sldSz cx="12192000" cy="6858000"/>
  <p:notesSz cx="6858000" cy="9144000"/>
  <p:custDataLst>
    <p:tags r:id="rId2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80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A038"/>
    <a:srgbClr val="2ADF72"/>
    <a:srgbClr val="02D905"/>
    <a:srgbClr val="FAED00"/>
    <a:srgbClr val="009EFF"/>
    <a:srgbClr val="D1E9FE"/>
    <a:srgbClr val="44B431"/>
    <a:srgbClr val="036E75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12" autoAdjust="0"/>
    <p:restoredTop sz="94434" autoAdjust="0"/>
  </p:normalViewPr>
  <p:slideViewPr>
    <p:cSldViewPr snapToGrid="0" showGuides="1">
      <p:cViewPr varScale="1">
        <p:scale>
          <a:sx n="68" d="100"/>
          <a:sy n="68" d="100"/>
        </p:scale>
        <p:origin x="474" y="66"/>
      </p:cViewPr>
      <p:guideLst>
        <p:guide orient="horz" pos="2160"/>
        <p:guide pos="8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2DE606-E797-41F9-95B6-B49597F402DB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EEA7E1-23E6-4501-B8AA-F5AF7E9E73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5454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6737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1786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1745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0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629C0DC-7962-6540-A35D-A19AFAC41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7" t="2673" r="4970" b="4981"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5" name="Title 10">
            <a:extLst>
              <a:ext uri="{FF2B5EF4-FFF2-40B4-BE49-F238E27FC236}">
                <a16:creationId xmlns:a16="http://schemas.microsoft.com/office/drawing/2014/main" xmlns="" id="{9687E6EA-B16B-8443-9428-9E8DF4811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21498"/>
            <a:ext cx="10515600" cy="934770"/>
          </a:xfrm>
          <a:prstGeom prst="rect">
            <a:avLst/>
          </a:prstGeom>
        </p:spPr>
        <p:txBody>
          <a:bodyPr/>
          <a:lstStyle>
            <a:lvl1pPr>
              <a:defRPr sz="2800" b="0" i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03072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0291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 userDrawn="1"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  <a:extLst/>
        </p:spPr>
        <p:txBody>
          <a:bodyPr lIns="102615" tIns="102615" rIns="102615" bIns="1026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7" kern="0" dirty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8847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42245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9955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5147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3867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4899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488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0942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431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224D0A-8124-4C84-A8CF-03E1EB65E253}" type="datetimeFigureOut">
              <a:rPr lang="ru-RU" smtClean="0"/>
              <a:pPr/>
              <a:t>10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93898-BB3A-415D-A6FE-EBF541500D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83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48.png"/><Relationship Id="rId5" Type="http://schemas.openxmlformats.org/officeDocument/2006/relationships/image" Target="../media/image3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25.png"/><Relationship Id="rId4" Type="http://schemas.openxmlformats.org/officeDocument/2006/relationships/image" Target="../media/image51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53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54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tags" Target="../tags/tag4.xml"/><Relationship Id="rId21" Type="http://schemas.openxmlformats.org/officeDocument/2006/relationships/image" Target="../media/image20.png"/><Relationship Id="rId7" Type="http://schemas.openxmlformats.org/officeDocument/2006/relationships/image" Target="../media/image8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4.png"/><Relationship Id="rId23" Type="http://schemas.openxmlformats.org/officeDocument/2006/relationships/image" Target="../media/image22.png"/><Relationship Id="rId10" Type="http://schemas.openxmlformats.org/officeDocument/2006/relationships/oleObject" Target="../embeddings/oleObject1.bin"/><Relationship Id="rId19" Type="http://schemas.openxmlformats.org/officeDocument/2006/relationships/image" Target="../media/image18.png"/><Relationship Id="rId4" Type="http://schemas.openxmlformats.org/officeDocument/2006/relationships/tags" Target="../tags/tag5.xml"/><Relationship Id="rId9" Type="http://schemas.openxmlformats.org/officeDocument/2006/relationships/image" Target="../media/image10.pn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jpg"/><Relationship Id="rId4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25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6.png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5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5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Овал 18"/>
          <p:cNvSpPr/>
          <p:nvPr/>
        </p:nvSpPr>
        <p:spPr>
          <a:xfrm>
            <a:off x="3774610" y="4749003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2365704" y="4749003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989138" y="4746063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xmlns="" id="{07F50A0C-E2CC-C646-AEB7-8A967BD2AD01}"/>
              </a:ext>
            </a:extLst>
          </p:cNvPr>
          <p:cNvSpPr txBox="1">
            <a:spLocks/>
          </p:cNvSpPr>
          <p:nvPr/>
        </p:nvSpPr>
        <p:spPr>
          <a:xfrm>
            <a:off x="756048" y="4016952"/>
            <a:ext cx="8280400" cy="552685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6000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dirty="0" smtClean="0">
                <a:solidFill>
                  <a:srgbClr val="FAED00"/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ДЛЯ  ЗАКАЗЧИКОВ,УПОЛНОМОЧЕННЫХ ОРГАНОВ И УЧАСТНИКОВ ЗАКУПОК</a:t>
            </a:r>
            <a:endParaRPr lang="ru-RU" sz="1800" dirty="0">
              <a:solidFill>
                <a:srgbClr val="FAED00"/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xmlns="" id="{7E084A6F-DF65-C941-9ADC-38C1390BA397}"/>
              </a:ext>
            </a:extLst>
          </p:cNvPr>
          <p:cNvSpPr txBox="1">
            <a:spLocks/>
          </p:cNvSpPr>
          <p:nvPr/>
        </p:nvSpPr>
        <p:spPr>
          <a:xfrm>
            <a:off x="756048" y="2795014"/>
            <a:ext cx="9721850" cy="115212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r>
              <a:rPr lang="ru-RU" altLang="ru-RU" sz="4000" dirty="0" smtClean="0">
                <a:solidFill>
                  <a:schemeClr val="bg1"/>
                </a:solidFill>
              </a:rPr>
              <a:t>КРУПНЕЙШЕГО ОПЕРАТОРА </a:t>
            </a:r>
            <a:r>
              <a:rPr lang="ru-RU" altLang="ru-RU" sz="4000" dirty="0">
                <a:solidFill>
                  <a:schemeClr val="bg1"/>
                </a:solidFill>
              </a:rPr>
              <a:t>ЭЛЕКТРОННЫХ ТОРГОВ</a:t>
            </a:r>
          </a:p>
          <a:p>
            <a:endParaRPr lang="ru-RU" sz="4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345" y="4918235"/>
            <a:ext cx="828290" cy="82829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2622" y="4888623"/>
            <a:ext cx="780658" cy="78065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510" y="4918235"/>
            <a:ext cx="865988" cy="86598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59284" y="1606370"/>
            <a:ext cx="568805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6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ЕРВИСЫ </a:t>
            </a:r>
            <a:endParaRPr lang="ru-RU" sz="6600" dirty="0">
              <a:solidFill>
                <a:srgbClr val="FAED00"/>
              </a:solidFill>
            </a:endParaRPr>
          </a:p>
        </p:txBody>
      </p:sp>
      <p:pic>
        <p:nvPicPr>
          <p:cNvPr id="12" name="Google Shape;80;p2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 rot="5400000" flipH="1">
            <a:off x="-3020102" y="3383530"/>
            <a:ext cx="6396038" cy="28579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61617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582324" y="6161606"/>
            <a:ext cx="11384124" cy="56877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288" y="261706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solidFill>
                  <a:srgbClr val="21A038"/>
                </a:solidFill>
                <a:latin typeface="SB Sans Display"/>
                <a:cs typeface="SB Sans Display"/>
              </a:rPr>
              <a:t>КАК РАБОТАТЬ С СЕРВИСОМ НА ЭТП </a:t>
            </a:r>
            <a:endParaRPr lang="ru-RU" sz="2800" dirty="0">
              <a:solidFill>
                <a:srgbClr val="21A038"/>
              </a:solidFill>
              <a:latin typeface="SB Sans Display"/>
              <a:cs typeface="SB Sans Display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132537" y="261706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6828" y="1481749"/>
            <a:ext cx="8610625" cy="427966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324" y="3294766"/>
            <a:ext cx="2481262" cy="221412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981200" y="6229459"/>
            <a:ext cx="1021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Добавить адреса https://*.garant.ru и http://*.garant.ru в зону «Надежные узлы»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396" y="1081556"/>
            <a:ext cx="3112505" cy="18805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1303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341254" y="6140010"/>
            <a:ext cx="8328921" cy="56877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288" y="261706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>
                <a:solidFill>
                  <a:srgbClr val="21A038"/>
                </a:solidFill>
                <a:latin typeface="SB Sans Display"/>
                <a:cs typeface="SB Sans Display"/>
              </a:rPr>
              <a:t>КАК РАБОТАТЬ С СЕРВИСОМ НА ЭТП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132537" y="261706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Прямоугольник 2"/>
          <p:cNvSpPr/>
          <p:nvPr/>
        </p:nvSpPr>
        <p:spPr>
          <a:xfrm>
            <a:off x="593598" y="6239732"/>
            <a:ext cx="86812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Отметка в соответствующем столбце таблицы галочкой или </a:t>
            </a:r>
            <a:r>
              <a:rPr lang="ru-RU" dirty="0" smtClean="0">
                <a:solidFill>
                  <a:schemeClr val="bg1"/>
                </a:solidFill>
              </a:rPr>
              <a:t>цифрой. 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9488" y="1448925"/>
            <a:ext cx="9545732" cy="43450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076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/>
          <p:nvPr/>
        </p:nvSpPr>
        <p:spPr>
          <a:xfrm>
            <a:off x="-1" y="3"/>
            <a:ext cx="12191999" cy="68579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xmlns="" id="{7E084A6F-DF65-C941-9ADC-38C1390BA397}"/>
              </a:ext>
            </a:extLst>
          </p:cNvPr>
          <p:cNvSpPr txBox="1">
            <a:spLocks/>
          </p:cNvSpPr>
          <p:nvPr/>
        </p:nvSpPr>
        <p:spPr>
          <a:xfrm>
            <a:off x="523071" y="3157933"/>
            <a:ext cx="9845645" cy="115212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endParaRPr lang="ru-RU" sz="4000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23071" y="2246602"/>
            <a:ext cx="56779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6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ОТЧЕТЫ</a:t>
            </a:r>
            <a:endParaRPr lang="ru-RU" sz="6600" dirty="0">
              <a:solidFill>
                <a:srgbClr val="FAED0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387056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914433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98" y="4811912"/>
            <a:ext cx="902338" cy="902338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3858844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537" y="4900331"/>
            <a:ext cx="838422" cy="83842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601" y="4941249"/>
            <a:ext cx="797504" cy="797504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5295764" y="4756701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140" y="4900331"/>
            <a:ext cx="859115" cy="8591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5359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27" y="1456573"/>
            <a:ext cx="9305478" cy="5135940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Скругленный прямоугольник 1"/>
          <p:cNvSpPr/>
          <p:nvPr/>
        </p:nvSpPr>
        <p:spPr>
          <a:xfrm>
            <a:off x="6210953" y="2896463"/>
            <a:ext cx="6425335" cy="153890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07986" y="3188861"/>
            <a:ext cx="45905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У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ользователя есть возможность выгрузки стандартного отчета (при использовании только дат для выгрузки) и расширенного на 4 листах (с помощью дополнительных фильтров)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4" name="Овал 13"/>
          <p:cNvSpPr/>
          <p:nvPr/>
        </p:nvSpPr>
        <p:spPr>
          <a:xfrm>
            <a:off x="6398922" y="3173798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067" y="3285646"/>
            <a:ext cx="706774" cy="706771"/>
          </a:xfrm>
          <a:prstGeom prst="rect">
            <a:avLst/>
          </a:prstGeom>
        </p:spPr>
      </p:pic>
      <p:sp>
        <p:nvSpPr>
          <p:cNvPr id="17" name="Заголовок 3">
            <a:extLst>
              <a:ext uri="{FF2B5EF4-FFF2-40B4-BE49-F238E27FC236}">
                <a16:creationId xmlns:a16="http://schemas.microsoft.com/office/drawing/2014/main" xmlns="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81127" y="221939"/>
            <a:ext cx="269417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ОТЧЕТЫ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4799" y="1049278"/>
            <a:ext cx="8998821" cy="2973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Отчеты могут быть настроены под желания уполномоченного орган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54244" y="289512"/>
            <a:ext cx="2337288" cy="214074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5550" y="724975"/>
            <a:ext cx="2341067" cy="11644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851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417" y="2870392"/>
            <a:ext cx="9347351" cy="3830465"/>
          </a:xfrm>
          <a:prstGeom prst="rect">
            <a:avLst/>
          </a:prstGeom>
          <a:ln w="38100">
            <a:noFill/>
          </a:ln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727" y="1299751"/>
            <a:ext cx="9305478" cy="1697225"/>
          </a:xfrm>
          <a:prstGeom prst="rect">
            <a:avLst/>
          </a:prstGeom>
          <a:noFill/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Скругленный прямоугольник 1"/>
          <p:cNvSpPr/>
          <p:nvPr/>
        </p:nvSpPr>
        <p:spPr>
          <a:xfrm>
            <a:off x="7897491" y="3484240"/>
            <a:ext cx="4689567" cy="355906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24306" y="4614104"/>
            <a:ext cx="3742142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Совместные </a:t>
            </a: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торги при выгрузке расширенного отчета раскрываются (при нажатии на «+»). Всем региональным организаторам торгов (УО) добавлена возможность выгрузки отчета по закупкам, размещенным другими организаторами регионального и муниципального уровней (</a:t>
            </a:r>
            <a:r>
              <a:rPr lang="ru-RU" sz="13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с помощью фильтра «Организаторы»</a:t>
            </a: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)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4" name="Овал 13"/>
          <p:cNvSpPr/>
          <p:nvPr/>
        </p:nvSpPr>
        <p:spPr>
          <a:xfrm>
            <a:off x="9595861" y="3597794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3">
            <a:extLst>
              <a:ext uri="{FF2B5EF4-FFF2-40B4-BE49-F238E27FC236}">
                <a16:creationId xmlns:a16="http://schemas.microsoft.com/office/drawing/2014/main" xmlns="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81127" y="262913"/>
            <a:ext cx="269417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ОТЧЕТЫ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19" name="Rectangle 94">
            <a:extLst>
              <a:ext uri="{FF2B5EF4-FFF2-40B4-BE49-F238E27FC236}">
                <a16:creationId xmlns:a16="http://schemas.microsoft.com/office/drawing/2014/main" xmlns="" id="{8F85E83C-F2DB-4725-946F-BDE153D67FDC}"/>
              </a:ext>
            </a:extLst>
          </p:cNvPr>
          <p:cNvSpPr/>
          <p:nvPr/>
        </p:nvSpPr>
        <p:spPr>
          <a:xfrm>
            <a:off x="481127" y="713599"/>
            <a:ext cx="11783544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z="1600" spc="-10" dirty="0" smtClean="0">
                <a:latin typeface="SB Sans Text Light"/>
                <a:cs typeface="Times New Roman"/>
              </a:rPr>
              <a:t>Сводные данные по процедуре </a:t>
            </a:r>
            <a:endParaRPr lang="ru-RU" sz="1600" spc="-10" dirty="0">
              <a:latin typeface="SB Sans Text Light"/>
              <a:cs typeface="Times New Roman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8541" y="3618783"/>
            <a:ext cx="639493" cy="6394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4413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28" y="1213335"/>
            <a:ext cx="8645224" cy="5479580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xmlns="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6" y="382146"/>
            <a:ext cx="857885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ВЫГРУЗКА СВОДНОЙ ИНФОРМАЦИИ ПО КОНТРАКТАХ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6348549" y="3879669"/>
            <a:ext cx="6035040" cy="263869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4" name="Овал 13"/>
          <p:cNvSpPr/>
          <p:nvPr/>
        </p:nvSpPr>
        <p:spPr>
          <a:xfrm>
            <a:off x="8775852" y="3971991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6508646" y="4965158"/>
            <a:ext cx="56833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Добавлена возможность</a:t>
            </a:r>
            <a:r>
              <a:rPr lang="ru-RU" dirty="0">
                <a:solidFill>
                  <a:schemeClr val="bg1"/>
                </a:solidFill>
              </a:rPr>
              <a:t> позволяющие заказчику/организатору осуществлять выгрузку информации о контрактах,</a:t>
            </a:r>
            <a:r>
              <a:rPr lang="ru-RU" dirty="0">
                <a:solidFill>
                  <a:srgbClr val="FAED00"/>
                </a:solidFill>
              </a:rPr>
              <a:t> в соответствии с заданными критериями фильтрации на странице, в формате XLS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81374">
            <a:off x="4495492" y="3258848"/>
            <a:ext cx="447980" cy="41183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1142" y="3971991"/>
            <a:ext cx="726420" cy="7264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36022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xmlns="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6" y="382146"/>
            <a:ext cx="857885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ВЫГРУЗКА СВОДНОЙ ИНФОРМАЦИИ ПО КОНТРАКТАХ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0" y="5094513"/>
            <a:ext cx="12383589" cy="1371601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4" name="Овал 13"/>
          <p:cNvSpPr/>
          <p:nvPr/>
        </p:nvSpPr>
        <p:spPr>
          <a:xfrm>
            <a:off x="651122" y="5343592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267" y="5455440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943179" y="5584178"/>
            <a:ext cx="91483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Пример выгруженной информации </a:t>
            </a:r>
            <a:r>
              <a:rPr lang="ru-RU" dirty="0" smtClean="0">
                <a:solidFill>
                  <a:srgbClr val="FAED00"/>
                </a:solidFill>
              </a:rPr>
              <a:t>по установленным заказчиком фильтрам.</a:t>
            </a:r>
            <a:endParaRPr lang="ru-RU" dirty="0">
              <a:solidFill>
                <a:srgbClr val="FAED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7838" y="2154117"/>
            <a:ext cx="11677650" cy="19855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1648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/>
          <p:nvPr/>
        </p:nvSpPr>
        <p:spPr>
          <a:xfrm>
            <a:off x="0" y="0"/>
            <a:ext cx="12191999" cy="68579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Прямоугольник 5"/>
          <p:cNvSpPr/>
          <p:nvPr/>
        </p:nvSpPr>
        <p:spPr>
          <a:xfrm>
            <a:off x="420219" y="1752707"/>
            <a:ext cx="1014984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3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ФУНКЦИОНАЛ УДАЛЕННОГО ПОДПИСАНИЯ ПРОТОКОЛА ВСЕМИ СОТРУДНИКАМИ КОМИССИИ </a:t>
            </a:r>
          </a:p>
        </p:txBody>
      </p:sp>
      <p:sp>
        <p:nvSpPr>
          <p:cNvPr id="9" name="Овал 8"/>
          <p:cNvSpPr/>
          <p:nvPr/>
        </p:nvSpPr>
        <p:spPr>
          <a:xfrm>
            <a:off x="2387056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914433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98" y="4811912"/>
            <a:ext cx="902338" cy="902338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3858844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537" y="4900331"/>
            <a:ext cx="838422" cy="83842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601" y="4941249"/>
            <a:ext cx="797504" cy="797504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5295764" y="4756701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140" y="4900331"/>
            <a:ext cx="859115" cy="8591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472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846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6936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3260" y="-1129725"/>
            <a:ext cx="6278340" cy="3531566"/>
          </a:xfrm>
          <a:prstGeom prst="rect">
            <a:avLst/>
          </a:prstGeom>
        </p:spPr>
      </p:pic>
      <p:sp>
        <p:nvSpPr>
          <p:cNvPr id="86" name="Овал 85"/>
          <p:cNvSpPr/>
          <p:nvPr/>
        </p:nvSpPr>
        <p:spPr>
          <a:xfrm>
            <a:off x="880469" y="4871998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906" name="Рисунок 7390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599" y="4983040"/>
            <a:ext cx="539222" cy="539222"/>
          </a:xfrm>
          <a:prstGeom prst="rect">
            <a:avLst/>
          </a:prstGeom>
        </p:spPr>
      </p:pic>
      <p:sp>
        <p:nvSpPr>
          <p:cNvPr id="88" name="Овал 87"/>
          <p:cNvSpPr/>
          <p:nvPr/>
        </p:nvSpPr>
        <p:spPr>
          <a:xfrm>
            <a:off x="4527413" y="3198485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904" name="Рисунок 7390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2314" y="3311995"/>
            <a:ext cx="499121" cy="499121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6670443" y="4641540"/>
            <a:ext cx="6545605" cy="1642790"/>
          </a:xfrm>
          <a:prstGeom prst="roundRect">
            <a:avLst/>
          </a:prstGeom>
          <a:solidFill>
            <a:srgbClr val="6E00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206984" y="-62992"/>
            <a:ext cx="6404986" cy="4564242"/>
          </a:xfrm>
          <a:prstGeom prst="roundRect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Овал 112"/>
          <p:cNvSpPr/>
          <p:nvPr/>
        </p:nvSpPr>
        <p:spPr>
          <a:xfrm>
            <a:off x="8379659" y="5603641"/>
            <a:ext cx="595378" cy="5953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6113251" y="4621642"/>
            <a:ext cx="6896100" cy="4313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-18801" y="2464971"/>
            <a:ext cx="6896100" cy="4313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Овал 76"/>
          <p:cNvSpPr/>
          <p:nvPr/>
        </p:nvSpPr>
        <p:spPr>
          <a:xfrm>
            <a:off x="10918803" y="2555498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/>
          <p:cNvSpPr/>
          <p:nvPr/>
        </p:nvSpPr>
        <p:spPr>
          <a:xfrm>
            <a:off x="7097009" y="2518547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/>
          <p:cNvSpPr/>
          <p:nvPr/>
        </p:nvSpPr>
        <p:spPr>
          <a:xfrm>
            <a:off x="9073509" y="2518547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Овал 71"/>
          <p:cNvSpPr/>
          <p:nvPr/>
        </p:nvSpPr>
        <p:spPr>
          <a:xfrm>
            <a:off x="10963926" y="959425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9062391" y="1002432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/>
          <p:cNvSpPr/>
          <p:nvPr/>
        </p:nvSpPr>
        <p:spPr>
          <a:xfrm>
            <a:off x="7030680" y="1008611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28">
              <a:lnSpc>
                <a:spcPct val="90000"/>
              </a:lnSpc>
              <a:defRPr/>
            </a:pPr>
            <a:endParaRPr lang="ru-RU" sz="2400" dirty="0">
              <a:solidFill>
                <a:prstClr val="white"/>
              </a:solidFill>
              <a:latin typeface="Raleway" panose="020B0503030101060003"/>
              <a:sym typeface="Raleway" panose="020B0503030101060003"/>
            </a:endParaRPr>
          </a:p>
        </p:txBody>
      </p:sp>
      <p:sp>
        <p:nvSpPr>
          <p:cNvPr id="20" name="Rectangle 94">
            <a:extLst>
              <a:ext uri="{FF2B5EF4-FFF2-40B4-BE49-F238E27FC236}">
                <a16:creationId xmlns:a16="http://schemas.microsoft.com/office/drawing/2014/main" xmlns="" id="{8F85E83C-F2DB-4725-946F-BDE153D67FDC}"/>
              </a:ext>
            </a:extLst>
          </p:cNvPr>
          <p:cNvSpPr/>
          <p:nvPr/>
        </p:nvSpPr>
        <p:spPr>
          <a:xfrm>
            <a:off x="348023" y="1127235"/>
            <a:ext cx="5634743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solidFill>
                  <a:srgbClr val="21A038"/>
                </a:solidFill>
                <a:latin typeface="SB Sans Text Light"/>
                <a:cs typeface="Times New Roman"/>
              </a:rPr>
              <a:t>у нас широкая линейка продуктов, </a:t>
            </a:r>
          </a:p>
          <a:p>
            <a:pPr marL="12700">
              <a:spcBef>
                <a:spcPts val="100"/>
              </a:spcBef>
            </a:pPr>
            <a:r>
              <a:rPr lang="ru-RU" spc="-10" dirty="0">
                <a:solidFill>
                  <a:srgbClr val="21A038"/>
                </a:solidFill>
                <a:latin typeface="SB Sans Text Light"/>
                <a:cs typeface="Times New Roman"/>
              </a:rPr>
              <a:t>в том числе интегрированных с</a:t>
            </a:r>
            <a:r>
              <a:rPr lang="en-US" spc="-10" dirty="0">
                <a:solidFill>
                  <a:srgbClr val="21A038"/>
                </a:solidFill>
                <a:latin typeface="SB Sans Text Light"/>
                <a:cs typeface="Times New Roman"/>
              </a:rPr>
              <a:t> </a:t>
            </a:r>
            <a:r>
              <a:rPr lang="ru-RU" spc="-10" dirty="0">
                <a:solidFill>
                  <a:srgbClr val="21A038"/>
                </a:solidFill>
                <a:latin typeface="SB Sans Text Light"/>
                <a:cs typeface="Times New Roman"/>
              </a:rPr>
              <a:t>ПАО СБЕРБАНК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40697" y="249299"/>
            <a:ext cx="537358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IBM Plex Sans" panose="020B0503050203000203" pitchFamily="34" charset="0"/>
                <a:cs typeface="Times New Roman" panose="02020603050405020304" pitchFamily="18" charset="0"/>
              </a:rPr>
              <a:t>СБЕРБАНК-АСТ – </a:t>
            </a:r>
          </a:p>
          <a:p>
            <a:r>
              <a:rPr lang="ru-RU" sz="2000" b="1" dirty="0" smtClean="0">
                <a:solidFill>
                  <a:schemeClr val="bg1"/>
                </a:solidFill>
                <a:latin typeface="IBM Plex Sans" panose="020B0503050203000203" pitchFamily="34" charset="0"/>
                <a:cs typeface="Times New Roman" panose="02020603050405020304" pitchFamily="18" charset="0"/>
              </a:rPr>
              <a:t>ЭКОСИСТЕМА ДЛЯ ПРЕДПРИНИМАТЕЛЯ:</a:t>
            </a:r>
            <a:endParaRPr lang="ru-RU" sz="20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540697" y="1745943"/>
            <a:ext cx="16192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algn="ctr">
              <a:lnSpc>
                <a:spcPct val="100000"/>
              </a:lnSpc>
            </a:pPr>
            <a:r>
              <a:rPr lang="ru-RU" sz="11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бучение,</a:t>
            </a:r>
            <a:r>
              <a:rPr lang="ru-RU" sz="1100" spc="-5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онференции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529117" y="1746023"/>
            <a:ext cx="18149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algn="ctr">
              <a:lnSpc>
                <a:spcPct val="100000"/>
              </a:lnSpc>
            </a:pPr>
            <a:r>
              <a:rPr lang="ru-RU" sz="11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Л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имиты 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а </a:t>
            </a:r>
            <a:r>
              <a:rPr lang="ru-RU" sz="1100" spc="-55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бг</a:t>
            </a:r>
            <a:r>
              <a:rPr lang="ru-RU" sz="1100" spc="-5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, </a:t>
            </a:r>
            <a:r>
              <a:rPr lang="ru-RU" sz="1100" spc="-1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пецсчет,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10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эскроу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0397949" y="1712026"/>
            <a:ext cx="167689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algn="ctr">
              <a:lnSpc>
                <a:spcPct val="100000"/>
              </a:lnSpc>
            </a:pPr>
            <a:r>
              <a:rPr lang="ru-RU" sz="11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акеты </a:t>
            </a:r>
          </a:p>
          <a:p>
            <a:pPr marL="184785" algn="ctr">
              <a:lnSpc>
                <a:spcPct val="100000"/>
              </a:lnSpc>
            </a:pP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редложений, </a:t>
            </a:r>
          </a:p>
          <a:p>
            <a:pPr marL="184785" algn="ctr">
              <a:lnSpc>
                <a:spcPct val="100000"/>
              </a:lnSpc>
            </a:pPr>
            <a:r>
              <a:rPr lang="ru-RU" sz="1100" spc="-35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эдо</a:t>
            </a:r>
            <a:r>
              <a:rPr lang="ru-RU" sz="1100" spc="-3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,</a:t>
            </a:r>
            <a:r>
              <a:rPr lang="ru-RU" sz="1100" spc="-9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en-US" sz="1100" spc="-5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api</a:t>
            </a:r>
            <a:endParaRPr lang="en-US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176200" y="3274166"/>
            <a:ext cx="239373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marR="5080" algn="ctr">
              <a:lnSpc>
                <a:spcPct val="100000"/>
              </a:lnSpc>
            </a:pPr>
            <a:r>
              <a:rPr lang="ru-RU" sz="11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алендарь событий, </a:t>
            </a:r>
          </a:p>
          <a:p>
            <a:pPr marL="184785" marR="50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отификация</a:t>
            </a:r>
            <a:r>
              <a:rPr lang="ru-RU" sz="1100" spc="-12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о </a:t>
            </a:r>
          </a:p>
          <a:p>
            <a:pPr marL="184785" marR="5080" algn="ctr">
              <a:lnSpc>
                <a:spcPct val="100000"/>
              </a:lnSpc>
            </a:pP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доступным</a:t>
            </a:r>
            <a:r>
              <a:rPr lang="ru-RU" sz="1100" spc="-2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аналам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607380" y="3303070"/>
            <a:ext cx="163805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780" algn="ctr">
              <a:lnSpc>
                <a:spcPct val="100000"/>
              </a:lnSpc>
            </a:pPr>
            <a:r>
              <a:rPr lang="ru-RU" sz="12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</a:t>
            </a:r>
            <a:r>
              <a:rPr lang="ru-RU" sz="12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астройка</a:t>
            </a:r>
          </a:p>
          <a:p>
            <a:pPr marL="1447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шаблонов</a:t>
            </a:r>
            <a:endParaRPr lang="ru-RU" sz="1200" spc="-5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144780" algn="ctr">
              <a:lnSpc>
                <a:spcPct val="100000"/>
              </a:lnSpc>
            </a:pP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документов</a:t>
            </a:r>
            <a:endParaRPr lang="ru-RU" sz="12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316209" y="3334332"/>
            <a:ext cx="185894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780" algn="ctr">
              <a:lnSpc>
                <a:spcPct val="100000"/>
              </a:lnSpc>
            </a:pPr>
            <a:r>
              <a:rPr lang="ru-RU" sz="11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нтроль</a:t>
            </a:r>
          </a:p>
          <a:p>
            <a:pPr marL="1447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исполнения</a:t>
            </a:r>
          </a:p>
          <a:p>
            <a:pPr marL="1447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роектов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62289" y="2362280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000" b="1" spc="-5" dirty="0" smtClean="0">
                <a:latin typeface="IBM Plex Sans" panose="020B0503050203000203" pitchFamily="34" charset="0"/>
                <a:cs typeface="Times New Roman"/>
              </a:rPr>
              <a:t>ФУНДАМЕНТ </a:t>
            </a:r>
            <a:r>
              <a:rPr lang="ru-RU" sz="2000" b="1" spc="-35" dirty="0" smtClean="0">
                <a:latin typeface="IBM Plex Sans" panose="020B0503050203000203" pitchFamily="34" charset="0"/>
                <a:cs typeface="Times New Roman"/>
              </a:rPr>
              <a:t>АСТ </a:t>
            </a:r>
            <a:r>
              <a:rPr lang="ru-RU" sz="2000" b="1" spc="-5" dirty="0" smtClean="0">
                <a:latin typeface="IBM Plex Sans" panose="020B0503050203000203" pitchFamily="34" charset="0"/>
                <a:cs typeface="Times New Roman"/>
              </a:rPr>
              <a:t>– </a:t>
            </a:r>
            <a:r>
              <a:rPr lang="ru-RU" sz="2000" b="1" spc="-15" dirty="0" smtClean="0">
                <a:latin typeface="IBM Plex Sans" panose="020B0503050203000203" pitchFamily="34" charset="0"/>
                <a:cs typeface="Times New Roman"/>
              </a:rPr>
              <a:t>ПЛАТФОРМА </a:t>
            </a:r>
            <a:r>
              <a:rPr lang="ru-RU" sz="2000" b="1" spc="-5" dirty="0" smtClean="0">
                <a:latin typeface="IBM Plex Sans" panose="020B0503050203000203" pitchFamily="34" charset="0"/>
                <a:cs typeface="Times New Roman"/>
              </a:rPr>
              <a:t>ДЛЯ </a:t>
            </a:r>
            <a:r>
              <a:rPr lang="ru-RU" sz="2000" b="1" spc="-10" dirty="0" smtClean="0">
                <a:latin typeface="IBM Plex Sans" panose="020B0503050203000203" pitchFamily="34" charset="0"/>
                <a:cs typeface="Times New Roman"/>
              </a:rPr>
              <a:t>УПРАВЛЕНИЯ</a:t>
            </a:r>
            <a:r>
              <a:rPr lang="ru-RU" sz="2000" b="1" spc="145" dirty="0" smtClean="0">
                <a:latin typeface="IBM Plex Sans" panose="020B0503050203000203" pitchFamily="34" charset="0"/>
                <a:cs typeface="Times New Roman"/>
              </a:rPr>
              <a:t> </a:t>
            </a:r>
            <a:r>
              <a:rPr lang="ru-RU" sz="2000" b="1" spc="-10" dirty="0" smtClean="0">
                <a:latin typeface="IBM Plex Sans" panose="020B0503050203000203" pitchFamily="34" charset="0"/>
                <a:cs typeface="Times New Roman"/>
              </a:rPr>
              <a:t>ЗАКУПКАМИ:</a:t>
            </a:r>
            <a:endParaRPr lang="ru-RU" sz="2000" b="1" dirty="0">
              <a:latin typeface="IBM Plex Sans" panose="020B0503050203000203" pitchFamily="34" charset="0"/>
              <a:cs typeface="Times New Roman"/>
            </a:endParaRPr>
          </a:p>
        </p:txBody>
      </p:sp>
      <p:sp>
        <p:nvSpPr>
          <p:cNvPr id="85" name="Овал 84"/>
          <p:cNvSpPr/>
          <p:nvPr/>
        </p:nvSpPr>
        <p:spPr>
          <a:xfrm>
            <a:off x="896279" y="3198289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Овал 86"/>
          <p:cNvSpPr/>
          <p:nvPr/>
        </p:nvSpPr>
        <p:spPr>
          <a:xfrm>
            <a:off x="2872997" y="3210386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Овал 88"/>
          <p:cNvSpPr/>
          <p:nvPr/>
        </p:nvSpPr>
        <p:spPr>
          <a:xfrm>
            <a:off x="2872385" y="4877734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Овал 89"/>
          <p:cNvSpPr/>
          <p:nvPr/>
        </p:nvSpPr>
        <p:spPr>
          <a:xfrm>
            <a:off x="4530067" y="4881409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TextBox 90"/>
          <p:cNvSpPr txBox="1"/>
          <p:nvPr/>
        </p:nvSpPr>
        <p:spPr>
          <a:xfrm>
            <a:off x="2333787" y="4079547"/>
            <a:ext cx="1832866" cy="720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5080" indent="210185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5" dirty="0"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одбор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40" dirty="0" smtClean="0"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с</a:t>
            </a:r>
            <a:r>
              <a:rPr lang="ru-RU" sz="1100" spc="10" dirty="0" smtClean="0">
                <a:latin typeface="IBM Plex Sans Light" panose="020B0403050203000203" pitchFamily="34" charset="0"/>
                <a:cs typeface="Times New Roman"/>
              </a:rPr>
              <a:t>т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авщи</a:t>
            </a:r>
            <a:r>
              <a:rPr lang="ru-RU" sz="1100" spc="-7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ов на</a:t>
            </a:r>
            <a:r>
              <a:rPr lang="ru-RU" sz="1100" spc="-20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торги</a:t>
            </a:r>
            <a:endParaRPr lang="ru-RU" sz="1100" dirty="0" smtClean="0">
              <a:latin typeface="IBM Plex Sans Light" panose="020B0403050203000203" pitchFamily="34" charset="0"/>
              <a:cs typeface="Times New Roman"/>
            </a:endParaRPr>
          </a:p>
          <a:p>
            <a:endParaRPr lang="ru-RU" dirty="0"/>
          </a:p>
        </p:txBody>
      </p:sp>
      <p:sp>
        <p:nvSpPr>
          <p:cNvPr id="92" name="Прямоугольник 91"/>
          <p:cNvSpPr/>
          <p:nvPr/>
        </p:nvSpPr>
        <p:spPr>
          <a:xfrm>
            <a:off x="4293977" y="4085503"/>
            <a:ext cx="1436291" cy="4437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9060" marR="5080" indent="-86995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10" dirty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н</a:t>
            </a:r>
            <a:r>
              <a:rPr lang="ru-RU" sz="1100" spc="10" dirty="0" smtClean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л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ти</a:t>
            </a:r>
            <a:r>
              <a:rPr lang="ru-RU" sz="1100" spc="-2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а,  </a:t>
            </a:r>
          </a:p>
          <a:p>
            <a:pPr marL="99060" marR="5080" indent="-86995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шаблоны 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</a:t>
            </a:r>
            <a:r>
              <a:rPr lang="ru-RU" sz="1100" spc="-25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отчеты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1964122" y="5787135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92735" marR="285750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5" dirty="0"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роверка  </a:t>
            </a:r>
            <a:r>
              <a:rPr lang="ru-RU" sz="1100" spc="-7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он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т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ра</a:t>
            </a:r>
            <a:r>
              <a:rPr lang="ru-RU" sz="1100" spc="-25" dirty="0" smtClean="0">
                <a:latin typeface="IBM Plex Sans Light" panose="020B0403050203000203" pitchFamily="34" charset="0"/>
                <a:cs typeface="Times New Roman"/>
              </a:rPr>
              <a:t>г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ен</a:t>
            </a:r>
            <a:r>
              <a:rPr lang="ru-RU" sz="1100" spc="-30" dirty="0" smtClean="0">
                <a:latin typeface="IBM Plex Sans Light" panose="020B0403050203000203" pitchFamily="34" charset="0"/>
                <a:cs typeface="Times New Roman"/>
              </a:rPr>
              <a:t>т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ов</a:t>
            </a:r>
          </a:p>
          <a:p>
            <a:pPr algn="ctr">
              <a:lnSpc>
                <a:spcPct val="100000"/>
              </a:lnSpc>
            </a:pP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 обоснование</a:t>
            </a:r>
            <a:r>
              <a:rPr lang="ru-RU" sz="1100" spc="-90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НМЦ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161414" y="5800317"/>
            <a:ext cx="21592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020" marR="5080" indent="-274320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80" dirty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spc="-20" dirty="0" smtClean="0">
                <a:latin typeface="IBM Plex Sans Light" panose="020B0403050203000203" pitchFamily="34" charset="0"/>
                <a:cs typeface="Times New Roman"/>
              </a:rPr>
              <a:t>у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ц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онный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робот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418758" y="5731294"/>
            <a:ext cx="1672309" cy="443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indent="55880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25" dirty="0">
                <a:latin typeface="IBM Plex Sans Light" panose="020B0403050203000203" pitchFamily="34" charset="0"/>
                <a:cs typeface="Times New Roman"/>
              </a:rPr>
              <a:t>У</a:t>
            </a:r>
            <a:r>
              <a:rPr lang="ru-RU" sz="1100" spc="-25" dirty="0" smtClean="0">
                <a:latin typeface="IBM Plex Sans Light" panose="020B0403050203000203" pitchFamily="34" charset="0"/>
                <a:cs typeface="Times New Roman"/>
              </a:rPr>
              <a:t>мный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поиск </a:t>
            </a:r>
          </a:p>
          <a:p>
            <a:pPr marL="12700" marR="5080" indent="55880" algn="ctr">
              <a:lnSpc>
                <a:spcPct val="100000"/>
              </a:lnSpc>
              <a:spcBef>
                <a:spcPts val="100"/>
              </a:spcBef>
            </a:pP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 по</a:t>
            </a:r>
            <a:r>
              <a:rPr lang="ru-RU" sz="1100" spc="-80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процедурам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73888" name="Прямоугольник 73887"/>
          <p:cNvSpPr/>
          <p:nvPr/>
        </p:nvSpPr>
        <p:spPr>
          <a:xfrm>
            <a:off x="460868" y="4043379"/>
            <a:ext cx="1638301" cy="612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indent="1270" algn="ctr">
              <a:lnSpc>
                <a:spcPct val="100000"/>
              </a:lnSpc>
              <a:spcBef>
                <a:spcPts val="105"/>
              </a:spcBef>
            </a:pPr>
            <a:r>
              <a:rPr lang="ru-RU" sz="1100" spc="-15" dirty="0">
                <a:latin typeface="IBM Plex Sans Light" panose="020B0403050203000203" pitchFamily="34" charset="0"/>
                <a:cs typeface="Times New Roman"/>
              </a:rPr>
              <a:t>С</a:t>
            </a:r>
            <a:r>
              <a:rPr lang="ru-RU" sz="1100" spc="-15" dirty="0" smtClean="0">
                <a:latin typeface="IBM Plex Sans Light" panose="020B0403050203000203" pitchFamily="34" charset="0"/>
                <a:cs typeface="Times New Roman"/>
              </a:rPr>
              <a:t>овет заказчиков</a:t>
            </a:r>
          </a:p>
          <a:p>
            <a:pPr marL="12700" marR="5080" indent="1270" algn="ctr">
              <a:lnSpc>
                <a:spcPct val="100000"/>
              </a:lnSpc>
              <a:spcBef>
                <a:spcPts val="105"/>
              </a:spcBef>
            </a:pPr>
            <a:r>
              <a:rPr lang="ru-RU" sz="1100" spc="-15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  пе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р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с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н</a:t>
            </a:r>
            <a:r>
              <a:rPr lang="ru-RU" sz="1100" spc="10" dirty="0" smtClean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ль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ный 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менеджер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100" name="object 20"/>
          <p:cNvSpPr txBox="1"/>
          <p:nvPr/>
        </p:nvSpPr>
        <p:spPr>
          <a:xfrm>
            <a:off x="6827189" y="5369283"/>
            <a:ext cx="118282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7165" marR="5080" indent="-165100">
              <a:lnSpc>
                <a:spcPct val="100000"/>
              </a:lnSpc>
              <a:spcBef>
                <a:spcPts val="100"/>
              </a:spcBef>
            </a:pP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Ф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ИНАНС</a:t>
            </a:r>
            <a:r>
              <a:rPr lang="ru-RU" sz="1100" spc="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ВЫЕ  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ЕРВИСЫ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103" name="object 22"/>
          <p:cNvSpPr/>
          <p:nvPr/>
        </p:nvSpPr>
        <p:spPr>
          <a:xfrm>
            <a:off x="8007389" y="4740834"/>
            <a:ext cx="255365" cy="1481455"/>
          </a:xfrm>
          <a:custGeom>
            <a:avLst/>
            <a:gdLst/>
            <a:ahLst/>
            <a:cxnLst/>
            <a:rect l="l" t="t" r="r" b="b"/>
            <a:pathLst>
              <a:path w="228600" h="1481454">
                <a:moveTo>
                  <a:pt x="228600" y="1481328"/>
                </a:moveTo>
                <a:lnTo>
                  <a:pt x="178336" y="1454234"/>
                </a:lnTo>
                <a:lnTo>
                  <a:pt x="139412" y="1381488"/>
                </a:lnTo>
                <a:lnTo>
                  <a:pt x="125918" y="1331994"/>
                </a:lnTo>
                <a:lnTo>
                  <a:pt x="117319" y="1275887"/>
                </a:lnTo>
                <a:lnTo>
                  <a:pt x="114300" y="1214767"/>
                </a:lnTo>
                <a:lnTo>
                  <a:pt x="114300" y="1007237"/>
                </a:lnTo>
                <a:lnTo>
                  <a:pt x="111280" y="946124"/>
                </a:lnTo>
                <a:lnTo>
                  <a:pt x="102681" y="890018"/>
                </a:lnTo>
                <a:lnTo>
                  <a:pt x="89187" y="840522"/>
                </a:lnTo>
                <a:lnTo>
                  <a:pt x="71485" y="799236"/>
                </a:lnTo>
                <a:lnTo>
                  <a:pt x="26205" y="747706"/>
                </a:lnTo>
                <a:lnTo>
                  <a:pt x="0" y="740663"/>
                </a:lnTo>
                <a:lnTo>
                  <a:pt x="26205" y="733621"/>
                </a:lnTo>
                <a:lnTo>
                  <a:pt x="71485" y="682091"/>
                </a:lnTo>
                <a:lnTo>
                  <a:pt x="89187" y="640805"/>
                </a:lnTo>
                <a:lnTo>
                  <a:pt x="102681" y="591309"/>
                </a:lnTo>
                <a:lnTo>
                  <a:pt x="111280" y="535203"/>
                </a:lnTo>
                <a:lnTo>
                  <a:pt x="114300" y="474090"/>
                </a:lnTo>
                <a:lnTo>
                  <a:pt x="114300" y="266573"/>
                </a:lnTo>
                <a:lnTo>
                  <a:pt x="117319" y="205460"/>
                </a:lnTo>
                <a:lnTo>
                  <a:pt x="125918" y="149354"/>
                </a:lnTo>
                <a:lnTo>
                  <a:pt x="139412" y="99858"/>
                </a:lnTo>
                <a:lnTo>
                  <a:pt x="157114" y="58572"/>
                </a:lnTo>
                <a:lnTo>
                  <a:pt x="202394" y="7042"/>
                </a:lnTo>
                <a:lnTo>
                  <a:pt x="228600" y="0"/>
                </a:lnTo>
              </a:path>
            </a:pathLst>
          </a:custGeom>
          <a:noFill/>
          <a:ln w="6096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889" name="Прямоугольник 73888"/>
          <p:cNvSpPr/>
          <p:nvPr/>
        </p:nvSpPr>
        <p:spPr>
          <a:xfrm>
            <a:off x="9127153" y="4656367"/>
            <a:ext cx="6096000" cy="7643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98145" marR="5080" indent="-386080">
              <a:lnSpc>
                <a:spcPct val="100000"/>
              </a:lnSpc>
              <a:spcBef>
                <a:spcPts val="100"/>
              </a:spcBef>
            </a:pP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пециальные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чета </a:t>
            </a:r>
            <a:endParaRPr lang="ru-RU" sz="1400" spc="-5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398145" marR="5080" indent="-386080">
              <a:lnSpc>
                <a:spcPct val="100000"/>
              </a:lnSpc>
              <a:spcBef>
                <a:spcPts val="100"/>
              </a:spcBef>
            </a:pPr>
            <a:r>
              <a:rPr lang="ru-RU" sz="14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для</a:t>
            </a:r>
            <a:r>
              <a:rPr lang="ru-RU" sz="1400" spc="-7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беспечения</a:t>
            </a:r>
          </a:p>
          <a:p>
            <a:pPr marL="398145" marR="5080" indent="-386080">
              <a:lnSpc>
                <a:spcPct val="100000"/>
              </a:lnSpc>
              <a:spcBef>
                <a:spcPts val="100"/>
              </a:spcBef>
            </a:pPr>
            <a:r>
              <a:rPr lang="ru-RU" sz="14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заявок </a:t>
            </a: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а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участие </a:t>
            </a: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в</a:t>
            </a:r>
            <a:r>
              <a:rPr lang="ru-RU" sz="1400" spc="-1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4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торгах</a:t>
            </a:r>
            <a:endParaRPr lang="ru-RU" sz="14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73890" name="Прямоугольник 73889"/>
          <p:cNvSpPr/>
          <p:nvPr/>
        </p:nvSpPr>
        <p:spPr>
          <a:xfrm>
            <a:off x="9127153" y="5527119"/>
            <a:ext cx="6096000" cy="7643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477520" marR="5080" indent="-464820">
              <a:lnSpc>
                <a:spcPct val="100000"/>
              </a:lnSpc>
              <a:spcBef>
                <a:spcPts val="100"/>
              </a:spcBef>
            </a:pPr>
            <a:r>
              <a:rPr lang="ru-RU" sz="14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Банковские </a:t>
            </a: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гарантии </a:t>
            </a:r>
            <a:endParaRPr lang="ru-RU" sz="1400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477520" marR="5080" indent="-464820">
              <a:lnSpc>
                <a:spcPct val="100000"/>
              </a:lnSpc>
              <a:spcBef>
                <a:spcPts val="100"/>
              </a:spcBef>
            </a:pPr>
            <a:r>
              <a:rPr lang="ru-RU" sz="14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ред-одобренным  </a:t>
            </a:r>
            <a:endParaRPr lang="ru-RU" sz="1400" spc="-5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477520" marR="5080" indent="-464820">
              <a:lnSpc>
                <a:spcPct val="100000"/>
              </a:lnSpc>
              <a:spcBef>
                <a:spcPts val="100"/>
              </a:spcBef>
            </a:pPr>
            <a:r>
              <a:rPr lang="ru-RU" sz="14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лимитом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аждому</a:t>
            </a:r>
            <a:r>
              <a:rPr lang="ru-RU" sz="1400" spc="-6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участнику</a:t>
            </a:r>
            <a:endParaRPr lang="ru-RU" sz="14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114" name="Овал 113"/>
          <p:cNvSpPr/>
          <p:nvPr/>
        </p:nvSpPr>
        <p:spPr>
          <a:xfrm>
            <a:off x="8372612" y="4740834"/>
            <a:ext cx="595378" cy="5953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901" name="Рисунок 7390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058" y="4940691"/>
            <a:ext cx="535936" cy="535936"/>
          </a:xfrm>
          <a:prstGeom prst="rect">
            <a:avLst/>
          </a:prstGeom>
        </p:spPr>
      </p:pic>
      <p:pic>
        <p:nvPicPr>
          <p:cNvPr id="73902" name="Рисунок 7390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8" y="3340430"/>
            <a:ext cx="466053" cy="466053"/>
          </a:xfrm>
          <a:prstGeom prst="rect">
            <a:avLst/>
          </a:prstGeom>
        </p:spPr>
      </p:pic>
      <p:pic>
        <p:nvPicPr>
          <p:cNvPr id="73903" name="Рисунок 7390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47" y="3288427"/>
            <a:ext cx="573383" cy="573383"/>
          </a:xfrm>
          <a:prstGeom prst="rect">
            <a:avLst/>
          </a:prstGeom>
        </p:spPr>
      </p:pic>
      <p:pic>
        <p:nvPicPr>
          <p:cNvPr id="73905" name="Рисунок 7390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669" y="5007650"/>
            <a:ext cx="562656" cy="562656"/>
          </a:xfrm>
          <a:prstGeom prst="rect">
            <a:avLst/>
          </a:prstGeom>
        </p:spPr>
      </p:pic>
      <p:pic>
        <p:nvPicPr>
          <p:cNvPr id="73908" name="Рисунок 7390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0683" y="5653105"/>
            <a:ext cx="488838" cy="488838"/>
          </a:xfrm>
          <a:prstGeom prst="rect">
            <a:avLst/>
          </a:prstGeom>
        </p:spPr>
      </p:pic>
      <p:pic>
        <p:nvPicPr>
          <p:cNvPr id="73909" name="Рисунок 7390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6584" y="4818735"/>
            <a:ext cx="439575" cy="4395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2870" y="1037906"/>
            <a:ext cx="523792" cy="52379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105" y="1105758"/>
            <a:ext cx="529291" cy="52929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6797" y="2623228"/>
            <a:ext cx="546846" cy="54684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8214" y="2613191"/>
            <a:ext cx="567453" cy="56745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685" y="2623228"/>
            <a:ext cx="538623" cy="53862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6797" y="1090004"/>
            <a:ext cx="505861" cy="50586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83516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4697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41586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1429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/>
        </p:nvSpPr>
        <p:spPr>
          <a:xfrm>
            <a:off x="0" y="0"/>
            <a:ext cx="12191999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23723" y="0"/>
            <a:ext cx="4322439" cy="1774090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xmlns="" id="{7E084A6F-DF65-C941-9ADC-38C1390BA397}"/>
              </a:ext>
            </a:extLst>
          </p:cNvPr>
          <p:cNvSpPr txBox="1">
            <a:spLocks/>
          </p:cNvSpPr>
          <p:nvPr/>
        </p:nvSpPr>
        <p:spPr>
          <a:xfrm>
            <a:off x="81565" y="1217838"/>
            <a:ext cx="9845645" cy="115212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r>
              <a:rPr lang="ru-RU" sz="4000" dirty="0" smtClean="0">
                <a:solidFill>
                  <a:schemeClr val="bg1"/>
                </a:solidFill>
              </a:rPr>
              <a:t>Динамический индикатор</a:t>
            </a:r>
            <a:endParaRPr lang="ru-RU" sz="4000" dirty="0">
              <a:solidFill>
                <a:schemeClr val="bg1"/>
              </a:solidFill>
            </a:endParaRPr>
          </a:p>
        </p:txBody>
      </p:sp>
      <p:grpSp>
        <p:nvGrpSpPr>
          <p:cNvPr id="11" name="object 3"/>
          <p:cNvGrpSpPr/>
          <p:nvPr/>
        </p:nvGrpSpPr>
        <p:grpSpPr>
          <a:xfrm>
            <a:off x="101377" y="1829485"/>
            <a:ext cx="11224640" cy="4832984"/>
            <a:chOff x="583692" y="1248156"/>
            <a:chExt cx="11224640" cy="4832984"/>
          </a:xfrm>
        </p:grpSpPr>
        <p:pic>
          <p:nvPicPr>
            <p:cNvPr id="12" name="object 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03504" y="1267968"/>
              <a:ext cx="10981944" cy="4648200"/>
            </a:xfrm>
            <a:prstGeom prst="rect">
              <a:avLst/>
            </a:prstGeom>
          </p:spPr>
        </p:pic>
        <p:sp>
          <p:nvSpPr>
            <p:cNvPr id="13" name="object 5"/>
            <p:cNvSpPr/>
            <p:nvPr/>
          </p:nvSpPr>
          <p:spPr>
            <a:xfrm>
              <a:off x="583692" y="1248156"/>
              <a:ext cx="11021695" cy="4688205"/>
            </a:xfrm>
            <a:custGeom>
              <a:avLst/>
              <a:gdLst/>
              <a:ahLst/>
              <a:cxnLst/>
              <a:rect l="l" t="t" r="r" b="b"/>
              <a:pathLst>
                <a:path w="11021695" h="4688205">
                  <a:moveTo>
                    <a:pt x="0" y="4687824"/>
                  </a:moveTo>
                  <a:lnTo>
                    <a:pt x="11021568" y="4687824"/>
                  </a:lnTo>
                  <a:lnTo>
                    <a:pt x="11021568" y="0"/>
                  </a:lnTo>
                  <a:lnTo>
                    <a:pt x="0" y="0"/>
                  </a:lnTo>
                  <a:lnTo>
                    <a:pt x="0" y="4687824"/>
                  </a:lnTo>
                  <a:close/>
                </a:path>
              </a:pathLst>
            </a:custGeom>
            <a:ln w="39624">
              <a:solidFill>
                <a:srgbClr val="209F3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6"/>
            <p:cNvSpPr/>
            <p:nvPr/>
          </p:nvSpPr>
          <p:spPr>
            <a:xfrm>
              <a:off x="6815327" y="5157215"/>
              <a:ext cx="4993005" cy="923925"/>
            </a:xfrm>
            <a:custGeom>
              <a:avLst/>
              <a:gdLst/>
              <a:ahLst/>
              <a:cxnLst/>
              <a:rect l="l" t="t" r="r" b="b"/>
              <a:pathLst>
                <a:path w="4993005" h="923925">
                  <a:moveTo>
                    <a:pt x="4992624" y="0"/>
                  </a:moveTo>
                  <a:lnTo>
                    <a:pt x="0" y="0"/>
                  </a:lnTo>
                  <a:lnTo>
                    <a:pt x="0" y="923544"/>
                  </a:lnTo>
                  <a:lnTo>
                    <a:pt x="4992624" y="923544"/>
                  </a:lnTo>
                  <a:lnTo>
                    <a:pt x="4992624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7"/>
            <p:cNvSpPr/>
            <p:nvPr/>
          </p:nvSpPr>
          <p:spPr>
            <a:xfrm>
              <a:off x="6815327" y="5157215"/>
              <a:ext cx="4993005" cy="923925"/>
            </a:xfrm>
            <a:custGeom>
              <a:avLst/>
              <a:gdLst/>
              <a:ahLst/>
              <a:cxnLst/>
              <a:rect l="l" t="t" r="r" b="b"/>
              <a:pathLst>
                <a:path w="4993005" h="923925">
                  <a:moveTo>
                    <a:pt x="0" y="923544"/>
                  </a:moveTo>
                  <a:lnTo>
                    <a:pt x="4992624" y="923544"/>
                  </a:lnTo>
                  <a:lnTo>
                    <a:pt x="4992624" y="0"/>
                  </a:lnTo>
                  <a:lnTo>
                    <a:pt x="0" y="0"/>
                  </a:lnTo>
                  <a:lnTo>
                    <a:pt x="0" y="923544"/>
                  </a:lnTo>
                  <a:close/>
                </a:path>
              </a:pathLst>
            </a:custGeom>
            <a:ln w="18288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6216691" y="5805650"/>
            <a:ext cx="49062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pc="-25" dirty="0">
                <a:latin typeface="Microsoft Sans Serif"/>
                <a:cs typeface="Microsoft Sans Serif"/>
              </a:rPr>
              <a:t>Организатор</a:t>
            </a:r>
            <a:r>
              <a:rPr lang="ru-RU" spc="50" dirty="0">
                <a:latin typeface="Microsoft Sans Serif"/>
                <a:cs typeface="Microsoft Sans Serif"/>
              </a:rPr>
              <a:t> </a:t>
            </a:r>
            <a:r>
              <a:rPr lang="ru-RU" spc="-20" dirty="0">
                <a:latin typeface="Microsoft Sans Serif"/>
                <a:cs typeface="Microsoft Sans Serif"/>
              </a:rPr>
              <a:t>торгов</a:t>
            </a:r>
            <a:r>
              <a:rPr lang="ru-RU" spc="40" dirty="0">
                <a:latin typeface="Microsoft Sans Serif"/>
                <a:cs typeface="Microsoft Sans Serif"/>
              </a:rPr>
              <a:t> </a:t>
            </a:r>
            <a:r>
              <a:rPr lang="ru-RU" dirty="0">
                <a:latin typeface="Microsoft Sans Serif"/>
                <a:cs typeface="Microsoft Sans Serif"/>
              </a:rPr>
              <a:t>в </a:t>
            </a:r>
            <a:r>
              <a:rPr lang="ru-RU" spc="-40" dirty="0">
                <a:latin typeface="Microsoft Sans Serif"/>
                <a:cs typeface="Microsoft Sans Serif"/>
              </a:rPr>
              <a:t>карточке</a:t>
            </a:r>
            <a:r>
              <a:rPr lang="ru-RU" dirty="0">
                <a:latin typeface="Microsoft Sans Serif"/>
                <a:cs typeface="Microsoft Sans Serif"/>
              </a:rPr>
              <a:t> </a:t>
            </a:r>
            <a:r>
              <a:rPr lang="ru-RU" spc="-50" dirty="0">
                <a:latin typeface="Microsoft Sans Serif"/>
                <a:cs typeface="Microsoft Sans Serif"/>
              </a:rPr>
              <a:t>закупки </a:t>
            </a:r>
            <a:r>
              <a:rPr lang="ru-RU" spc="-465" dirty="0">
                <a:latin typeface="Microsoft Sans Serif"/>
                <a:cs typeface="Microsoft Sans Serif"/>
              </a:rPr>
              <a:t> </a:t>
            </a:r>
            <a:r>
              <a:rPr lang="ru-RU" spc="-5" dirty="0">
                <a:latin typeface="Microsoft Sans Serif"/>
                <a:cs typeface="Microsoft Sans Serif"/>
              </a:rPr>
              <a:t>видит</a:t>
            </a:r>
            <a:r>
              <a:rPr lang="ru-RU" spc="-10" dirty="0">
                <a:latin typeface="Microsoft Sans Serif"/>
                <a:cs typeface="Microsoft Sans Serif"/>
              </a:rPr>
              <a:t> время</a:t>
            </a:r>
            <a:r>
              <a:rPr lang="ru-RU" spc="5" dirty="0">
                <a:latin typeface="Microsoft Sans Serif"/>
                <a:cs typeface="Microsoft Sans Serif"/>
              </a:rPr>
              <a:t> </a:t>
            </a:r>
            <a:r>
              <a:rPr lang="ru-RU" dirty="0">
                <a:latin typeface="Microsoft Sans Serif"/>
                <a:cs typeface="Microsoft Sans Serif"/>
              </a:rPr>
              <a:t>до</a:t>
            </a:r>
            <a:r>
              <a:rPr lang="ru-RU" spc="5" dirty="0">
                <a:latin typeface="Microsoft Sans Serif"/>
                <a:cs typeface="Microsoft Sans Serif"/>
              </a:rPr>
              <a:t> </a:t>
            </a:r>
            <a:r>
              <a:rPr lang="ru-RU" spc="-5" dirty="0">
                <a:latin typeface="Microsoft Sans Serif"/>
                <a:cs typeface="Microsoft Sans Serif"/>
              </a:rPr>
              <a:t>наступления</a:t>
            </a:r>
            <a:r>
              <a:rPr lang="ru-RU" spc="5" dirty="0">
                <a:latin typeface="Microsoft Sans Serif"/>
                <a:cs typeface="Microsoft Sans Serif"/>
              </a:rPr>
              <a:t> </a:t>
            </a:r>
            <a:r>
              <a:rPr lang="ru-RU" spc="-20" dirty="0">
                <a:latin typeface="Microsoft Sans Serif"/>
                <a:cs typeface="Microsoft Sans Serif"/>
              </a:rPr>
              <a:t>самого </a:t>
            </a:r>
            <a:r>
              <a:rPr lang="ru-RU" spc="-15" dirty="0">
                <a:latin typeface="Microsoft Sans Serif"/>
                <a:cs typeface="Microsoft Sans Serif"/>
              </a:rPr>
              <a:t> </a:t>
            </a:r>
            <a:r>
              <a:rPr lang="ru-RU" dirty="0">
                <a:latin typeface="Microsoft Sans Serif"/>
                <a:cs typeface="Microsoft Sans Serif"/>
              </a:rPr>
              <a:t>события</a:t>
            </a:r>
          </a:p>
        </p:txBody>
      </p:sp>
    </p:spTree>
    <p:extLst>
      <p:ext uri="{BB962C8B-B14F-4D97-AF65-F5344CB8AC3E}">
        <p14:creationId xmlns:p14="http://schemas.microsoft.com/office/powerpoint/2010/main" val="302065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19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04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049A2D4B-6456-8B44-88DD-3B00388CA3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4260" r="5796" b="5120"/>
          <a:stretch/>
        </p:blipFill>
        <p:spPr>
          <a:xfrm>
            <a:off x="0" y="0"/>
            <a:ext cx="6838357" cy="6875134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xmlns="" id="{28B32E1B-C0B1-FD40-913C-8915F81C365F}"/>
              </a:ext>
            </a:extLst>
          </p:cNvPr>
          <p:cNvSpPr txBox="1">
            <a:spLocks/>
          </p:cNvSpPr>
          <p:nvPr/>
        </p:nvSpPr>
        <p:spPr>
          <a:xfrm>
            <a:off x="695325" y="2192564"/>
            <a:ext cx="4104531" cy="3736852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60000">
              <a:lnSpc>
                <a:spcPts val="1880"/>
              </a:lnSpc>
              <a:spcBef>
                <a:spcPts val="0"/>
              </a:spcBef>
              <a:buNone/>
            </a:pPr>
            <a:endParaRPr lang="en-US" sz="1400" dirty="0"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476031" y="1007053"/>
            <a:ext cx="7353243" cy="118551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algn="r">
              <a:spcBef>
                <a:spcPct val="0"/>
              </a:spcBef>
            </a:pPr>
            <a:r>
              <a:rPr lang="ru-RU" sz="2800" dirty="0">
                <a:solidFill>
                  <a:srgbClr val="21A038"/>
                </a:solidFill>
                <a:latin typeface="SB Sans Display"/>
                <a:ea typeface="+mj-ea"/>
                <a:cs typeface="SB Sans Display"/>
              </a:rPr>
              <a:t>Телеграмм </a:t>
            </a:r>
            <a:r>
              <a:rPr lang="ru-RU" sz="2800" dirty="0" smtClean="0">
                <a:solidFill>
                  <a:srgbClr val="21A038"/>
                </a:solidFill>
                <a:latin typeface="SB Sans Display"/>
                <a:ea typeface="+mj-ea"/>
                <a:cs typeface="SB Sans Display"/>
              </a:rPr>
              <a:t>канал</a:t>
            </a:r>
          </a:p>
          <a:p>
            <a:pPr algn="r">
              <a:spcBef>
                <a:spcPct val="0"/>
              </a:spcBef>
            </a:pPr>
            <a:r>
              <a:rPr lang="ru-RU" sz="2800" dirty="0" smtClean="0">
                <a:solidFill>
                  <a:srgbClr val="21A038"/>
                </a:solidFill>
                <a:latin typeface="SB Sans Display"/>
                <a:ea typeface="+mj-ea"/>
                <a:cs typeface="SB Sans Display"/>
              </a:rPr>
              <a:t> «</a:t>
            </a:r>
            <a:r>
              <a:rPr lang="ru-RU" sz="2800" dirty="0">
                <a:solidFill>
                  <a:srgbClr val="21A038"/>
                </a:solidFill>
                <a:latin typeface="SB Sans Display"/>
                <a:ea typeface="+mj-ea"/>
                <a:cs typeface="SB Sans Display"/>
              </a:rPr>
              <a:t>Закупочная жизнь»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255967" y="3061823"/>
            <a:ext cx="482755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z="1600" spc="-10" dirty="0">
                <a:latin typeface="SB Sans Text Light"/>
                <a:cs typeface="Times New Roman"/>
              </a:rPr>
              <a:t>Изменения законодательства, часто обсуждаемые темы закупок, новый функционал на площадке </a:t>
            </a:r>
            <a:r>
              <a:rPr lang="ru-RU" sz="1600" spc="-10" dirty="0" smtClean="0">
                <a:latin typeface="SB Sans Text Light"/>
                <a:cs typeface="Times New Roman"/>
              </a:rPr>
              <a:t>АО </a:t>
            </a:r>
            <a:r>
              <a:rPr lang="ru-RU" sz="1600" spc="-10" dirty="0">
                <a:latin typeface="SB Sans Text Light"/>
                <a:cs typeface="Times New Roman"/>
              </a:rPr>
              <a:t>«Сбербанк-АСТ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207172" y="6180083"/>
            <a:ext cx="2406869" cy="231227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1129" y="738530"/>
            <a:ext cx="2657448" cy="558869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10" y="525883"/>
            <a:ext cx="6067272" cy="606727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86476" y="379024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159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049A2D4B-6456-8B44-88DD-3B00388CA3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4260" r="5796" b="5120"/>
          <a:stretch/>
        </p:blipFill>
        <p:spPr>
          <a:xfrm>
            <a:off x="5530074" y="-154546"/>
            <a:ext cx="6838357" cy="6875134"/>
          </a:xfrm>
          <a:prstGeom prst="rect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A060D2EA-44DF-9146-B30B-EB64872A657D}"/>
              </a:ext>
            </a:extLst>
          </p:cNvPr>
          <p:cNvSpPr/>
          <p:nvPr/>
        </p:nvSpPr>
        <p:spPr>
          <a:xfrm>
            <a:off x="6070387" y="4713650"/>
            <a:ext cx="1161462" cy="11614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75C6C3ED-57B6-2140-B07D-606C30B620FE}"/>
              </a:ext>
            </a:extLst>
          </p:cNvPr>
          <p:cNvSpPr/>
          <p:nvPr/>
        </p:nvSpPr>
        <p:spPr>
          <a:xfrm>
            <a:off x="6052975" y="3114727"/>
            <a:ext cx="1161462" cy="11614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CB637499-D9DF-AA4F-A6FA-BE59D3F2AA55}"/>
              </a:ext>
            </a:extLst>
          </p:cNvPr>
          <p:cNvSpPr/>
          <p:nvPr/>
        </p:nvSpPr>
        <p:spPr>
          <a:xfrm>
            <a:off x="6056345" y="1515804"/>
            <a:ext cx="1161462" cy="11614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xmlns="" id="{2B8B2A81-36BC-3646-BDDC-1F02EBE4E650}"/>
              </a:ext>
            </a:extLst>
          </p:cNvPr>
          <p:cNvSpPr txBox="1">
            <a:spLocks/>
          </p:cNvSpPr>
          <p:nvPr/>
        </p:nvSpPr>
        <p:spPr>
          <a:xfrm>
            <a:off x="7485365" y="2156616"/>
            <a:ext cx="3933796" cy="744064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ru-RU" sz="140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xmlns="" id="{333FD704-8257-A448-B8A0-B9FA6DFC138B}"/>
              </a:ext>
            </a:extLst>
          </p:cNvPr>
          <p:cNvSpPr/>
          <p:nvPr/>
        </p:nvSpPr>
        <p:spPr>
          <a:xfrm>
            <a:off x="7446588" y="1942646"/>
            <a:ext cx="474541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НЕВИДОМОВ МИХАИЛ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xmlns="" id="{7BAD8506-1866-2546-9258-63A5A989404B}"/>
              </a:ext>
            </a:extLst>
          </p:cNvPr>
          <p:cNvSpPr txBox="1">
            <a:spLocks/>
          </p:cNvSpPr>
          <p:nvPr/>
        </p:nvSpPr>
        <p:spPr>
          <a:xfrm>
            <a:off x="7418318" y="3590952"/>
            <a:ext cx="4034471" cy="411225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dirty="0" smtClean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+</a:t>
            </a:r>
            <a:r>
              <a:rPr lang="en-US" sz="20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7</a:t>
            </a:r>
            <a:r>
              <a:rPr lang="ru-RU" sz="2000" dirty="0" smtClean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(909) 364-24-97</a:t>
            </a: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xmlns="" id="{9DF98529-7A1E-4246-BCDA-ECC76613D4F7}"/>
              </a:ext>
            </a:extLst>
          </p:cNvPr>
          <p:cNvSpPr/>
          <p:nvPr/>
        </p:nvSpPr>
        <p:spPr>
          <a:xfrm>
            <a:off x="7508908" y="5173394"/>
            <a:ext cx="394388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nevidomov.m@yandex.ru</a:t>
            </a:r>
            <a:endParaRPr lang="en-US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xmlns="" id="{28B32E1B-C0B1-FD40-913C-8915F81C365F}"/>
              </a:ext>
            </a:extLst>
          </p:cNvPr>
          <p:cNvSpPr txBox="1">
            <a:spLocks/>
          </p:cNvSpPr>
          <p:nvPr/>
        </p:nvSpPr>
        <p:spPr>
          <a:xfrm>
            <a:off x="695325" y="2192564"/>
            <a:ext cx="4104531" cy="3736852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60000">
              <a:lnSpc>
                <a:spcPts val="1880"/>
              </a:lnSpc>
              <a:spcBef>
                <a:spcPts val="0"/>
              </a:spcBef>
              <a:buNone/>
            </a:pPr>
            <a:endParaRPr lang="en-US" sz="1400" dirty="0"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xmlns="" id="{12113B42-0045-A94C-8B0E-D9BC5C4DCFB4}"/>
              </a:ext>
            </a:extLst>
          </p:cNvPr>
          <p:cNvSpPr txBox="1">
            <a:spLocks/>
          </p:cNvSpPr>
          <p:nvPr/>
        </p:nvSpPr>
        <p:spPr>
          <a:xfrm>
            <a:off x="958312" y="1217182"/>
            <a:ext cx="3960813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solidFill>
                  <a:srgbClr val="21A038"/>
                </a:solidFill>
                <a:latin typeface="SB Sans Display"/>
                <a:cs typeface="SB Sans Display"/>
              </a:rPr>
              <a:t>КОНТАКТЫ</a:t>
            </a:r>
            <a:endParaRPr lang="ru-RU" sz="2800" dirty="0">
              <a:solidFill>
                <a:srgbClr val="21A038"/>
              </a:solidFill>
              <a:latin typeface="SB Sans Display"/>
              <a:cs typeface="SB Sans Display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21345" y="4365104"/>
            <a:ext cx="483474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60960">
              <a:lnSpc>
                <a:spcPct val="150000"/>
              </a:lnSpc>
            </a:pPr>
            <a:r>
              <a:rPr lang="ru-RU" sz="1600" spc="-1" dirty="0" smtClean="0">
                <a:uFill>
                  <a:solidFill>
                    <a:srgbClr val="FFFFFF"/>
                  </a:solidFill>
                </a:uFill>
                <a:latin typeface="SB Sans Text Cond" panose="020B0506040504020204" pitchFamily="34" charset="-52"/>
                <a:ea typeface="Gill Sans"/>
                <a:cs typeface="SB Sans Text Cond" panose="020B0506040504020204" pitchFamily="34" charset="-52"/>
              </a:rPr>
              <a:t>Сайт</a:t>
            </a:r>
            <a:r>
              <a:rPr lang="ru-RU" sz="1600" spc="-1" dirty="0">
                <a:uFill>
                  <a:solidFill>
                    <a:srgbClr val="FFFFFF"/>
                  </a:solidFill>
                </a:uFill>
                <a:latin typeface="SB Sans Text Cond" panose="020B0506040504020204" pitchFamily="34" charset="-52"/>
                <a:ea typeface="Gill Sans"/>
                <a:cs typeface="SB Sans Text Cond" panose="020B0506040504020204" pitchFamily="34" charset="-52"/>
              </a:rPr>
              <a:t>:</a:t>
            </a:r>
            <a:r>
              <a:rPr lang="en-US" sz="1600" spc="-1" dirty="0">
                <a:solidFill>
                  <a:srgbClr val="006600"/>
                </a:solidFill>
                <a:uFill>
                  <a:solidFill>
                    <a:srgbClr val="FFFFFF"/>
                  </a:solidFill>
                </a:uFill>
                <a:latin typeface="SB Sans Text Cond" panose="020B0506040504020204" pitchFamily="34" charset="-52"/>
                <a:ea typeface="Gill Sans"/>
                <a:cs typeface="SB Sans Text Cond" panose="020B0506040504020204" pitchFamily="34" charset="-52"/>
              </a:rPr>
              <a:t> </a:t>
            </a:r>
            <a:r>
              <a:rPr lang="en-US" sz="1600" dirty="0">
                <a:latin typeface="SB Sans Text Cond" panose="020B0506040504020204" pitchFamily="34" charset="-52"/>
                <a:cs typeface="SB Sans Text Cond" panose="020B0506040504020204" pitchFamily="34" charset="-52"/>
              </a:rPr>
              <a:t>www.sberbank-ast.ru</a:t>
            </a:r>
            <a:endParaRPr lang="ru-RU" sz="1600" spc="-1" dirty="0">
              <a:solidFill>
                <a:srgbClr val="006600"/>
              </a:solidFill>
              <a:uFill>
                <a:solidFill>
                  <a:srgbClr val="FFFFFF"/>
                </a:solidFill>
              </a:uFill>
              <a:latin typeface="SB Sans Text Cond" panose="020B0506040504020204" pitchFamily="34" charset="-52"/>
              <a:ea typeface="Gill Sans"/>
              <a:cs typeface="SB Sans Text Cond" panose="020B0506040504020204" pitchFamily="34" charset="-52"/>
            </a:endParaRPr>
          </a:p>
          <a:p>
            <a:pPr marR="60960">
              <a:lnSpc>
                <a:spcPct val="150000"/>
              </a:lnSpc>
            </a:pPr>
            <a:r>
              <a:rPr lang="ru-RU" sz="1600" dirty="0">
                <a:latin typeface="SB Sans Text Cond" panose="020B0506040504020204" pitchFamily="34" charset="-52"/>
                <a:cs typeface="SB Sans Text Cond" panose="020B0506040504020204" pitchFamily="34" charset="-52"/>
              </a:rPr>
              <a:t>Адрес:</a:t>
            </a:r>
            <a:r>
              <a:rPr lang="ru-RU" sz="1600" dirty="0">
                <a:solidFill>
                  <a:srgbClr val="006600"/>
                </a:solidFill>
                <a:latin typeface="SB Sans Text Cond" panose="020B0506040504020204" pitchFamily="34" charset="-52"/>
                <a:cs typeface="SB Sans Text Cond" panose="020B0506040504020204" pitchFamily="34" charset="-52"/>
              </a:rPr>
              <a:t> </a:t>
            </a:r>
            <a:r>
              <a:rPr lang="ru-RU" sz="1600" dirty="0">
                <a:latin typeface="SB Sans Text Cond" panose="020B0506040504020204" pitchFamily="34" charset="-52"/>
                <a:cs typeface="SB Sans Text Cond" panose="020B0506040504020204" pitchFamily="34" charset="-52"/>
              </a:rPr>
              <a:t>119435, г. Москва, ул. Большой Саввинский переулок, д.12, стр.9</a:t>
            </a:r>
            <a:endParaRPr lang="ru-RU" sz="1600" spc="-1" dirty="0">
              <a:solidFill>
                <a:srgbClr val="006600"/>
              </a:solidFill>
              <a:uFill>
                <a:solidFill>
                  <a:srgbClr val="FFFFFF"/>
                </a:solidFill>
              </a:uFill>
              <a:latin typeface="SB Sans Text Cond" panose="020B0506040504020204" pitchFamily="34" charset="-52"/>
              <a:ea typeface="Gill Sans"/>
              <a:cs typeface="SB Sans Text Cond" panose="020B0506040504020204" pitchFamily="34" charset="-52"/>
            </a:endParaRPr>
          </a:p>
          <a:p>
            <a:pPr marR="60960">
              <a:lnSpc>
                <a:spcPct val="150000"/>
              </a:lnSpc>
            </a:pPr>
            <a:r>
              <a:rPr lang="ru-RU" sz="1600" spc="-1" dirty="0">
                <a:uFill>
                  <a:solidFill>
                    <a:srgbClr val="FFFFFF"/>
                  </a:solidFill>
                </a:uFill>
                <a:latin typeface="SB Sans Text Cond" panose="020B0506040504020204" pitchFamily="34" charset="-52"/>
                <a:ea typeface="Gill Sans"/>
                <a:cs typeface="SB Sans Text Cond" panose="020B0506040504020204" pitchFamily="34" charset="-52"/>
              </a:rPr>
              <a:t>тел. </a:t>
            </a:r>
            <a:r>
              <a:rPr lang="ru-RU" sz="1600" dirty="0">
                <a:latin typeface="SB Sans Text Cond" panose="020B0506040504020204" pitchFamily="34" charset="-52"/>
                <a:cs typeface="SB Sans Text Cond" panose="020B0506040504020204" pitchFamily="34" charset="-52"/>
              </a:rPr>
              <a:t>+7 (495) 787-29-97; +7 (495) 787-29-99</a:t>
            </a:r>
            <a:endParaRPr lang="en-US" sz="1600" dirty="0">
              <a:latin typeface="SB Sans Text Cond" panose="020B0506040504020204" pitchFamily="34" charset="-52"/>
              <a:cs typeface="SB Sans Text Cond" panose="020B0506040504020204" pitchFamily="34" charset="-52"/>
            </a:endParaRPr>
          </a:p>
          <a:p>
            <a:pPr marR="60960">
              <a:lnSpc>
                <a:spcPct val="150000"/>
              </a:lnSpc>
            </a:pPr>
            <a:r>
              <a:rPr lang="en-US" sz="1600" spc="-1" dirty="0">
                <a:uFill>
                  <a:solidFill>
                    <a:srgbClr val="FFFFFF"/>
                  </a:solidFill>
                </a:uFill>
                <a:latin typeface="SB Sans Text Cond" panose="020B0506040504020204" pitchFamily="34" charset="-52"/>
                <a:ea typeface="Gill Sans"/>
                <a:cs typeface="SB Sans Text Cond" panose="020B0506040504020204" pitchFamily="34" charset="-52"/>
              </a:rPr>
              <a:t>e-mail: </a:t>
            </a:r>
            <a:r>
              <a:rPr lang="en-US" sz="1600" dirty="0">
                <a:latin typeface="SB Sans Text Cond" panose="020B0506040504020204" pitchFamily="34" charset="-52"/>
                <a:cs typeface="SB Sans Text Cond" panose="020B0506040504020204" pitchFamily="34" charset="-52"/>
              </a:rPr>
              <a:t>info@sberbank-ast.ru</a:t>
            </a:r>
            <a:endParaRPr lang="ru-RU" sz="1600" spc="-1" dirty="0">
              <a:uFill>
                <a:solidFill>
                  <a:srgbClr val="FFFFFF"/>
                </a:solidFill>
              </a:uFill>
              <a:latin typeface="SB Sans Text Cond" panose="020B0506040504020204" pitchFamily="34" charset="-52"/>
              <a:ea typeface="Gill Sans"/>
              <a:cs typeface="SB Sans Text Cond" panose="020B0506040504020204" pitchFamily="34" charset="-52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233" y="3394569"/>
            <a:ext cx="657770" cy="65777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499" y="5074854"/>
            <a:ext cx="636913" cy="63691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5137" y="1774148"/>
            <a:ext cx="751962" cy="75196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21594" y="282844"/>
            <a:ext cx="874916" cy="823450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7385624" y="344587"/>
            <a:ext cx="360861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FAED00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РЕГИОНАЛЬНЫЙ ПРЕДСТАВИТЕЛИ</a:t>
            </a:r>
          </a:p>
          <a:p>
            <a:pPr algn="ctr"/>
            <a:r>
              <a:rPr lang="ru-RU" b="1" dirty="0" smtClean="0">
                <a:solidFill>
                  <a:srgbClr val="FAED00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 Сбер А в Оренбургской област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4267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401" y="1504331"/>
            <a:ext cx="8421002" cy="4894331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5328172" y="1229930"/>
            <a:ext cx="6598217" cy="222274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803" y="-97256"/>
            <a:ext cx="10330923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>
                <a:solidFill>
                  <a:srgbClr val="21A038"/>
                </a:solidFill>
                <a:latin typeface="SB Sans Display"/>
                <a:cs typeface="SB Sans Display"/>
              </a:rPr>
              <a:t>СЕРВИС ОБОСНОВАНИЯ НМЦ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28052" y="3632532"/>
            <a:ext cx="4398015" cy="3076899"/>
          </a:xfrm>
          <a:prstGeom prst="rect">
            <a:avLst/>
          </a:prstGeom>
          <a:noFill/>
          <a:ln w="9525" cap="flat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788662" y="1318295"/>
            <a:ext cx="5137727" cy="2056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400" b="1" spc="-7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ЕРВИС ДЛЯ РАСЧЕТА НМЦК </a:t>
            </a:r>
            <a:r>
              <a:rPr lang="ru-RU" sz="1400" spc="-7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–</a:t>
            </a:r>
          </a:p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400" spc="-7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b="1" spc="-7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бесплатный сервис </a:t>
            </a:r>
            <a:r>
              <a:rPr lang="ru-RU" sz="1400" spc="-7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 заказчиков, который позволяет формировать, обосновывать и контролировать начальную (максимальную) цену  </a:t>
            </a:r>
            <a:r>
              <a:rPr lang="ru-RU" sz="1400" spc="-5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вара</a:t>
            </a:r>
            <a:r>
              <a:rPr lang="ru-RU" sz="1400" spc="-1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6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</a:t>
            </a:r>
            <a:r>
              <a:rPr lang="ru-RU" sz="1400" spc="-114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7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купки.</a:t>
            </a:r>
            <a:r>
              <a:rPr lang="ru-RU" sz="1400" spc="-12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</a:p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400" spc="-4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сновное</a:t>
            </a:r>
            <a:r>
              <a:rPr lang="ru-RU" sz="1400" spc="-13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5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значение</a:t>
            </a:r>
            <a:r>
              <a:rPr lang="ru-RU" sz="1400" spc="-10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18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–</a:t>
            </a:r>
            <a:r>
              <a:rPr lang="ru-RU" sz="1400" spc="-1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4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дбор</a:t>
            </a:r>
            <a:r>
              <a:rPr lang="ru-RU" sz="1400" spc="-1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6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онтрактов</a:t>
            </a:r>
            <a:r>
              <a:rPr lang="ru-RU" sz="1400" spc="-12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6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</a:t>
            </a:r>
            <a:r>
              <a:rPr lang="ru-RU" sz="1400" spc="-114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4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боснования</a:t>
            </a:r>
            <a:r>
              <a:rPr lang="ru-RU" sz="1400" spc="-13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МЦК</a:t>
            </a:r>
            <a:r>
              <a:rPr lang="ru-RU" sz="1400" spc="-6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10803" y="692967"/>
            <a:ext cx="592874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solidFill>
                  <a:srgbClr val="21A038"/>
                </a:solidFill>
                <a:latin typeface="SB Sans Text Light"/>
                <a:cs typeface="Times New Roman"/>
              </a:rPr>
              <a:t>Аналитические сервисы: расчет НМЦК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1" name="Овал 10"/>
          <p:cNvSpPr/>
          <p:nvPr/>
        </p:nvSpPr>
        <p:spPr>
          <a:xfrm>
            <a:off x="5551312" y="1673820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746" y="1712147"/>
            <a:ext cx="843048" cy="843048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6786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>
          <a:xfrm>
            <a:off x="8214887" y="1451580"/>
            <a:ext cx="4688426" cy="133557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45" y="-95836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>
                <a:solidFill>
                  <a:srgbClr val="21A038"/>
                </a:solidFill>
                <a:latin typeface="SB Sans Display"/>
                <a:cs typeface="SB Sans Display"/>
              </a:rPr>
              <a:t>СЕРВИС ОБОСНОВАНИЯ НМЦ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26845" y="710674"/>
            <a:ext cx="925678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solidFill>
                  <a:srgbClr val="21A038"/>
                </a:solidFill>
                <a:latin typeface="SB Sans Text Light"/>
                <a:cs typeface="Times New Roman"/>
              </a:rPr>
              <a:t>Аналитические сервисы: расчет НМЦК и выгрузка в удобном формате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845" y="1217589"/>
            <a:ext cx="7697955" cy="391967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688" y="4456019"/>
            <a:ext cx="6625424" cy="229973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518" y="3177425"/>
            <a:ext cx="4462482" cy="1676400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518" y="5111843"/>
            <a:ext cx="4583640" cy="1547807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9483633" y="1672358"/>
            <a:ext cx="25873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33">
              <a:spcBef>
                <a:spcPts val="133"/>
              </a:spcBef>
              <a:tabLst>
                <a:tab pos="247220" algn="l"/>
              </a:tabLst>
            </a:pP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ыгрузка в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en-US" sz="1600" b="1" dirty="0" err="1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Exel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 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Doc </a:t>
            </a:r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 удобства применения в работе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0242" y="230392"/>
            <a:ext cx="874916" cy="823450"/>
          </a:xfrm>
          <a:prstGeom prst="rect">
            <a:avLst/>
          </a:prstGeom>
        </p:spPr>
      </p:pic>
      <p:sp>
        <p:nvSpPr>
          <p:cNvPr id="17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Овал 17"/>
          <p:cNvSpPr/>
          <p:nvPr/>
        </p:nvSpPr>
        <p:spPr>
          <a:xfrm>
            <a:off x="8377718" y="1564944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2552" y="1672358"/>
            <a:ext cx="776247" cy="7762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92834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041" y="4230070"/>
            <a:ext cx="2825649" cy="214181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205" y="1200283"/>
            <a:ext cx="7640550" cy="3029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370" y="68151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solidFill>
                  <a:srgbClr val="21A038"/>
                </a:solidFill>
                <a:latin typeface="SB Sans Display"/>
                <a:cs typeface="SB Sans Display"/>
              </a:rPr>
              <a:t>СЕРВИС ПРОВЕРКИ КОНТРАГЕНТОВ</a:t>
            </a:r>
            <a:endParaRPr lang="ru-RU" sz="2800" dirty="0">
              <a:solidFill>
                <a:srgbClr val="21A038"/>
              </a:solidFill>
              <a:latin typeface="SB Sans Display"/>
              <a:cs typeface="SB Sans Display"/>
            </a:endParaRPr>
          </a:p>
        </p:txBody>
      </p:sp>
      <p:sp>
        <p:nvSpPr>
          <p:cNvPr id="16" name="AutoShape 3"/>
          <p:cNvSpPr>
            <a:spLocks noChangeArrowheads="1"/>
          </p:cNvSpPr>
          <p:nvPr/>
        </p:nvSpPr>
        <p:spPr bwMode="auto">
          <a:xfrm>
            <a:off x="7866743" y="1458821"/>
            <a:ext cx="4228255" cy="1044226"/>
          </a:xfrm>
          <a:prstGeom prst="rect">
            <a:avLst/>
          </a:prstGeom>
          <a:noFill/>
          <a:ln w="9525">
            <a:solidFill>
              <a:srgbClr val="FAED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Информация о компании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Сильные стороны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Риск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Последние действия.</a:t>
            </a:r>
            <a:endParaRPr lang="en-US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7866743" y="2715076"/>
            <a:ext cx="4228256" cy="1752679"/>
          </a:xfrm>
          <a:prstGeom prst="rect">
            <a:avLst/>
          </a:prstGeom>
          <a:solidFill>
            <a:srgbClr val="FFFFFF">
              <a:alpha val="31000"/>
            </a:srgbClr>
          </a:solidFill>
          <a:ln w="6350">
            <a:solidFill>
              <a:srgbClr val="21A038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Правовая среда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Арбитражные дела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Проверк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Исполнительные производства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Банкротство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  <a:latin typeface="Verdana" pitchFamily="34" charset="0"/>
              </a:rPr>
              <a:t>Раскрытие информаци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  <a:latin typeface="Verdana" pitchFamily="34" charset="0"/>
              </a:rPr>
              <a:t>Лицензи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  <a:latin typeface="Verdana" pitchFamily="34" charset="0"/>
              </a:rPr>
              <a:t>Залоги.</a:t>
            </a:r>
            <a:endParaRPr lang="en-US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0" name="AutoShape 3"/>
          <p:cNvSpPr>
            <a:spLocks noChangeArrowheads="1"/>
          </p:cNvSpPr>
          <p:nvPr/>
        </p:nvSpPr>
        <p:spPr bwMode="auto">
          <a:xfrm>
            <a:off x="7815852" y="4679784"/>
            <a:ext cx="4228257" cy="1044226"/>
          </a:xfrm>
          <a:prstGeom prst="rect">
            <a:avLst/>
          </a:prstGeom>
          <a:solidFill>
            <a:srgbClr val="FFFFFF">
              <a:alpha val="31000"/>
            </a:srgbClr>
          </a:solidFill>
          <a:ln w="6350">
            <a:solidFill>
              <a:srgbClr val="FAED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Торговая деятельность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торг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Внешняя торговля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Реестр недобросовестных поставщиков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Сертификаты и декларации.</a:t>
            </a:r>
            <a:endParaRPr lang="en-US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auto">
          <a:xfrm>
            <a:off x="7799755" y="5963735"/>
            <a:ext cx="4228258" cy="816303"/>
          </a:xfrm>
          <a:prstGeom prst="rect">
            <a:avLst/>
          </a:prstGeom>
          <a:solidFill>
            <a:srgbClr val="FFFFFF">
              <a:alpha val="31000"/>
            </a:srgbClr>
          </a:solidFill>
          <a:ln w="6350">
            <a:solidFill>
              <a:srgbClr val="21A038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Финансовая отчетность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балансы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Экспресс-анализ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3641" y="5153539"/>
            <a:ext cx="4227501" cy="162039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83736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12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18" y="1374469"/>
            <a:ext cx="6096000" cy="4076700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-1046679" y="6260510"/>
            <a:ext cx="12674956" cy="446244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838" y="-30733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solidFill>
                  <a:srgbClr val="21A038"/>
                </a:solidFill>
                <a:latin typeface="SB Sans Display"/>
                <a:cs typeface="SB Sans Display"/>
              </a:rPr>
              <a:t>СЕРВИС ПРОВЕРКИ КОНТРАГЕНТОВ</a:t>
            </a:r>
            <a:endParaRPr lang="ru-RU" sz="2800" dirty="0">
              <a:solidFill>
                <a:srgbClr val="21A038"/>
              </a:solidFill>
              <a:latin typeface="SB Sans Display"/>
              <a:cs typeface="SB Sans Display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7156" y="1499297"/>
            <a:ext cx="2711121" cy="4369103"/>
          </a:xfrm>
          <a:prstGeom prst="rect">
            <a:avLst/>
          </a:prstGeom>
          <a:ln w="6350">
            <a:noFill/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6676" y="4371246"/>
            <a:ext cx="4764684" cy="1544187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03018" y="6298966"/>
            <a:ext cx="11862138" cy="307777"/>
          </a:xfrm>
          <a:prstGeom prst="rect">
            <a:avLst/>
          </a:prstGeom>
          <a:noFill/>
          <a:ln w="6350">
            <a:noFill/>
          </a:ln>
        </p:spPr>
        <p:txBody>
          <a:bodyPr wrap="square">
            <a:spAutoFit/>
          </a:bodyPr>
          <a:lstStyle/>
          <a:p>
            <a:pPr marL="16933" algn="just">
              <a:spcBef>
                <a:spcPts val="133"/>
              </a:spcBef>
              <a:tabLst>
                <a:tab pos="247220" algn="l"/>
              </a:tabLst>
            </a:pP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истема позволяет выполнить выгрузку «Досье кратко» и «Экспресс-проверка» в удобных форматах </a:t>
            </a:r>
            <a:r>
              <a:rPr lang="en-US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PDF 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 </a:t>
            </a:r>
            <a:r>
              <a:rPr lang="en-US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Word</a:t>
            </a:r>
            <a:endParaRPr lang="ru-RU" sz="1400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6833" y="766347"/>
            <a:ext cx="830737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solidFill>
                  <a:srgbClr val="21A038"/>
                </a:solidFill>
                <a:latin typeface="SB Sans Text Light"/>
                <a:cs typeface="Times New Roman"/>
              </a:rPr>
              <a:t>Выгрузка информации по контрагенту в удобных форматах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132537" y="261706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4411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/>
          <p:nvPr/>
        </p:nvSpPr>
        <p:spPr>
          <a:xfrm>
            <a:off x="0" y="0"/>
            <a:ext cx="12191999" cy="68579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xmlns="" id="{7E084A6F-DF65-C941-9ADC-38C1390BA397}"/>
              </a:ext>
            </a:extLst>
          </p:cNvPr>
          <p:cNvSpPr txBox="1">
            <a:spLocks/>
          </p:cNvSpPr>
          <p:nvPr/>
        </p:nvSpPr>
        <p:spPr>
          <a:xfrm>
            <a:off x="523071" y="3157933"/>
            <a:ext cx="9845645" cy="115212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r>
              <a:rPr lang="ru-RU" sz="4000" dirty="0" smtClean="0">
                <a:solidFill>
                  <a:schemeClr val="bg1"/>
                </a:solidFill>
              </a:rPr>
              <a:t>ПРОВЕРКИ КОДОВ ОКПД2</a:t>
            </a:r>
            <a:endParaRPr lang="ru-RU" sz="4000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8011" y="2049937"/>
            <a:ext cx="56779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6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ЕРВИС</a:t>
            </a:r>
            <a:endParaRPr lang="ru-RU" sz="6600" dirty="0">
              <a:solidFill>
                <a:srgbClr val="FAED0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387056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914433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98" y="4811912"/>
            <a:ext cx="902338" cy="902338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3858844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537" y="4900331"/>
            <a:ext cx="838422" cy="83842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601" y="4941249"/>
            <a:ext cx="797504" cy="797504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5295764" y="4756701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140" y="4900331"/>
            <a:ext cx="859115" cy="8591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855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4655895" y="1831028"/>
            <a:ext cx="6994670" cy="386319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288" y="261706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solidFill>
                  <a:srgbClr val="21A038"/>
                </a:solidFill>
                <a:latin typeface="SB Sans Display"/>
                <a:cs typeface="SB Sans Display"/>
              </a:rPr>
              <a:t>СЕРВИС ПРОВЕРКИ КОДОВ ОКПД2</a:t>
            </a:r>
            <a:endParaRPr lang="ru-RU" sz="2800" dirty="0">
              <a:solidFill>
                <a:srgbClr val="21A038"/>
              </a:solidFill>
              <a:latin typeface="SB Sans Display"/>
              <a:cs typeface="SB Sans Display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132537" y="261706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Прямоугольник 3"/>
          <p:cNvSpPr/>
          <p:nvPr/>
        </p:nvSpPr>
        <p:spPr>
          <a:xfrm>
            <a:off x="5036537" y="2036724"/>
            <a:ext cx="6096000" cy="34163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Аббревиатура ОКПД расшифровывается как «Общероссийский Классификатор Продукции по видам экономической Деятельности». Каждый товар, который производят или услуга, которую оказывают, соответствуют определенной позиции из ОКПД2. Система стандартизации продукции в России построена на основе классификации, принятой в странах ЕЭС . Классификатор используется для различных целей, например, для статистических исследований, при составлении нормативных документов. Одна из важных функций кода — использование в </a:t>
            </a:r>
            <a:r>
              <a:rPr lang="ru-RU" dirty="0" err="1">
                <a:solidFill>
                  <a:schemeClr val="bg1"/>
                </a:solidFill>
              </a:rPr>
              <a:t>госзакупках</a:t>
            </a:r>
            <a:r>
              <a:rPr lang="ru-RU" dirty="0">
                <a:solidFill>
                  <a:schemeClr val="bg1"/>
                </a:solidFill>
              </a:rPr>
              <a:t>. Причем знание ОКПД2 товара требуется обеим сторонам.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237729" y="2069975"/>
            <a:ext cx="1885950" cy="32289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3224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5409236" y="4974133"/>
            <a:ext cx="6598217" cy="110353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409235" y="1878051"/>
            <a:ext cx="6598217" cy="234269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288" y="261706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solidFill>
                  <a:srgbClr val="21A038"/>
                </a:solidFill>
                <a:latin typeface="SB Sans Display"/>
                <a:cs typeface="SB Sans Display"/>
              </a:rPr>
              <a:t>СЕРВИС ПРОВЕРКИ КОДОВ ОКПД2</a:t>
            </a:r>
            <a:endParaRPr lang="ru-RU" sz="2800" dirty="0">
              <a:solidFill>
                <a:srgbClr val="21A038"/>
              </a:solidFill>
              <a:latin typeface="SB Sans Display"/>
              <a:cs typeface="SB Sans Display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132537" y="261706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Прямоугольник 2"/>
          <p:cNvSpPr/>
          <p:nvPr/>
        </p:nvSpPr>
        <p:spPr>
          <a:xfrm>
            <a:off x="5557122" y="1411406"/>
            <a:ext cx="12589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u="sng" dirty="0"/>
              <a:t>Заказчику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473995" y="4507488"/>
            <a:ext cx="12613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u="sng" dirty="0"/>
              <a:t>Участнику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557122" y="5064237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- Чтобы определить, к какому типу относится его продукция, и, следовательно, в каких </a:t>
            </a:r>
            <a:r>
              <a:rPr lang="ru-RU" dirty="0" err="1">
                <a:solidFill>
                  <a:schemeClr val="bg1"/>
                </a:solidFill>
              </a:rPr>
              <a:t>госзакупках</a:t>
            </a:r>
            <a:r>
              <a:rPr lang="ru-RU" dirty="0">
                <a:solidFill>
                  <a:schemeClr val="bg1"/>
                </a:solidFill>
              </a:rPr>
              <a:t> он может поучаствовать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557122" y="1895237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- Чтобы составить </a:t>
            </a:r>
            <a:r>
              <a:rPr lang="ru-RU" dirty="0" smtClean="0">
                <a:solidFill>
                  <a:schemeClr val="bg1"/>
                </a:solidFill>
              </a:rPr>
              <a:t>идентификационный код </a:t>
            </a:r>
            <a:r>
              <a:rPr lang="ru-RU" dirty="0">
                <a:solidFill>
                  <a:schemeClr val="bg1"/>
                </a:solidFill>
              </a:rPr>
              <a:t>з</a:t>
            </a:r>
            <a:r>
              <a:rPr lang="ru-RU" dirty="0" smtClean="0">
                <a:solidFill>
                  <a:schemeClr val="bg1"/>
                </a:solidFill>
              </a:rPr>
              <a:t>акупки. </a:t>
            </a:r>
            <a:r>
              <a:rPr lang="ru-RU" dirty="0">
                <a:solidFill>
                  <a:schemeClr val="bg1"/>
                </a:solidFill>
              </a:rPr>
              <a:t>Этот код состоит из 36 цифр и включает в себя часть кода ОКПД2 (цифры с 30 по 33 разряд). Например, если в рамках госзаказа покупают мясо сельскохозяйственной птицы и прочие продукты убоя, включая консервированные, в него включат первые четыре цифры ОКПД2 — 10.12 - Чтобы подготовить </a:t>
            </a:r>
            <a:r>
              <a:rPr lang="ru-RU" dirty="0" err="1">
                <a:solidFill>
                  <a:schemeClr val="bg1"/>
                </a:solidFill>
              </a:rPr>
              <a:t>тз</a:t>
            </a:r>
            <a:r>
              <a:rPr lang="ru-RU" dirty="0">
                <a:solidFill>
                  <a:schemeClr val="bg1"/>
                </a:solidFill>
              </a:rPr>
              <a:t> для проведения закупки. - Чтобы разместить данные в ЕИС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9695" y="3049399"/>
            <a:ext cx="2502441" cy="15741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126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PROJECT_OPEN" val="0"/>
  <p:tag name="ARTICULATE_SLIDE_COUNT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01</TotalTime>
  <Words>689</Words>
  <Application>Microsoft Office PowerPoint</Application>
  <PresentationFormat>Широкоэкранный</PresentationFormat>
  <Paragraphs>114</Paragraphs>
  <Slides>2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48" baseType="lpstr">
      <vt:lpstr>Arial</vt:lpstr>
      <vt:lpstr>Arial Narrow</vt:lpstr>
      <vt:lpstr>Calibri</vt:lpstr>
      <vt:lpstr>Calibri Light</vt:lpstr>
      <vt:lpstr>Gill Sans</vt:lpstr>
      <vt:lpstr>Gill Sans SemiBold</vt:lpstr>
      <vt:lpstr>Helvetica</vt:lpstr>
      <vt:lpstr>IBM Plex Sans</vt:lpstr>
      <vt:lpstr>IBM Plex Sans Light</vt:lpstr>
      <vt:lpstr>Microsoft Sans Serif</vt:lpstr>
      <vt:lpstr>Raleway</vt:lpstr>
      <vt:lpstr>SB Sans Display</vt:lpstr>
      <vt:lpstr>SB Sans Display Regular</vt:lpstr>
      <vt:lpstr>SB Sans Display Semibold</vt:lpstr>
      <vt:lpstr>SB Sans Text</vt:lpstr>
      <vt:lpstr>SB Sans Text Cond</vt:lpstr>
      <vt:lpstr>SB Sans Text Light</vt:lpstr>
      <vt:lpstr>Times New Roman</vt:lpstr>
      <vt:lpstr>Verdana</vt:lpstr>
      <vt:lpstr>Wingdings</vt:lpstr>
      <vt:lpstr>Тема Office</vt:lpstr>
      <vt:lpstr>think-cell Slide</vt:lpstr>
      <vt:lpstr>Презентация PowerPoint</vt:lpstr>
      <vt:lpstr>Презентация PowerPoint</vt:lpstr>
      <vt:lpstr>СЕРВИС ОБОСНОВАНИЯ НМЦ</vt:lpstr>
      <vt:lpstr>СЕРВИС ОБОСНОВАНИЯ НМЦ</vt:lpstr>
      <vt:lpstr>СЕРВИС ПРОВЕРКИ КОНТРАГЕНТОВ</vt:lpstr>
      <vt:lpstr>СЕРВИС ПРОВЕРКИ КОНТРАГЕНТОВ</vt:lpstr>
      <vt:lpstr>Презентация PowerPoint</vt:lpstr>
      <vt:lpstr>СЕРВИС ПРОВЕРКИ КОДОВ ОКПД2</vt:lpstr>
      <vt:lpstr>СЕРВИС ПРОВЕРКИ КОДОВ ОКПД2</vt:lpstr>
      <vt:lpstr>КАК РАБОТАТЬ С СЕРВИСОМ НА ЭТП </vt:lpstr>
      <vt:lpstr>КАК РАБОТАТЬ С СЕРВИСОМ НА ЭТП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катерина Носова</dc:creator>
  <cp:lastModifiedBy>Admin</cp:lastModifiedBy>
  <cp:revision>174</cp:revision>
  <dcterms:created xsi:type="dcterms:W3CDTF">2020-10-05T18:13:44Z</dcterms:created>
  <dcterms:modified xsi:type="dcterms:W3CDTF">2022-08-10T03:0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6DB93EB-2A76-4920-9A01-17989F84DDD9</vt:lpwstr>
  </property>
  <property fmtid="{D5CDD505-2E9C-101B-9397-08002B2CF9AE}" pid="3" name="ArticulatePath">
    <vt:lpwstr>Презентация1</vt:lpwstr>
  </property>
</Properties>
</file>